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  <p:sldMasterId id="2147483686" r:id="rId4"/>
  </p:sldMasterIdLst>
  <p:notesMasterIdLst>
    <p:notesMasterId r:id="rId6"/>
  </p:notesMasterIdLst>
  <p:handoutMasterIdLst>
    <p:handoutMasterId r:id="rId7"/>
  </p:handoutMasterIdLst>
  <p:sldIdLst>
    <p:sldId id="877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4258"/>
    <a:srgbClr val="C6093B"/>
    <a:srgbClr val="5C5459"/>
    <a:srgbClr val="FFD966"/>
    <a:srgbClr val="E7E6E6"/>
    <a:srgbClr val="D0CECE"/>
    <a:srgbClr val="8497B0"/>
    <a:srgbClr val="FBE5D6"/>
    <a:srgbClr val="A09C9F"/>
    <a:srgbClr val="7A73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81" autoAdjust="0"/>
    <p:restoredTop sz="95110" autoAdjust="0"/>
  </p:normalViewPr>
  <p:slideViewPr>
    <p:cSldViewPr snapToGrid="0">
      <p:cViewPr varScale="1">
        <p:scale>
          <a:sx n="111" d="100"/>
          <a:sy n="111" d="100"/>
        </p:scale>
        <p:origin x="654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Master" Target="slideMasters/slideMaster1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4AF598-5817-433F-95B0-D655036D7053}" type="datetimeFigureOut">
              <a:rPr lang="en-IN" smtClean="0"/>
              <a:t>22-01-20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9F0F2F-02B5-4059-B80D-040BE67CB54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797180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0AF294-B695-054E-95C7-34E8A9D9F26D}" type="datetimeFigureOut">
              <a:rPr lang="en-US" smtClean="0"/>
              <a:t>1/2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FAACA0-D6A7-3D45-AE61-B2A738D1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7678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7150" y="617538"/>
            <a:ext cx="7124700" cy="40084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7449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-209243" y="645364"/>
            <a:ext cx="13043116" cy="6447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1300" kern="700" spc="-20" dirty="0">
                <a:solidFill>
                  <a:schemeClr val="tx1">
                    <a:alpha val="4000"/>
                  </a:schemeClr>
                </a:solidFill>
                <a:latin typeface="Avenir Black" panose="020B0803020203020204" pitchFamily="34" charset="0"/>
              </a:rPr>
              <a:t>2019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6661520"/>
            <a:ext cx="12192000" cy="196480"/>
          </a:xfrm>
          <a:prstGeom prst="rect">
            <a:avLst/>
          </a:prstGeom>
          <a:solidFill>
            <a:srgbClr val="C41F3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449536"/>
            <a:ext cx="12192000" cy="654479"/>
          </a:xfrm>
        </p:spPr>
        <p:txBody>
          <a:bodyPr anchor="ctr">
            <a:normAutofit/>
          </a:bodyPr>
          <a:lstStyle>
            <a:lvl1pPr algn="ctr">
              <a:defRPr sz="3600">
                <a:solidFill>
                  <a:srgbClr val="5C5459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5017015"/>
            <a:ext cx="12192000" cy="653143"/>
          </a:xfrm>
        </p:spPr>
        <p:txBody>
          <a:bodyPr anchor="ctr"/>
          <a:lstStyle>
            <a:lvl1pPr marL="0" indent="0" algn="ctr">
              <a:buNone/>
              <a:defRPr sz="2400" b="1">
                <a:solidFill>
                  <a:srgbClr val="5C5459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IN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6055" y="1375428"/>
            <a:ext cx="7439890" cy="3071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2082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B69E6D-5847-4A15-9C60-BC9F1502605E}" type="slidenum">
              <a:rPr lang="en-IN" smtClean="0"/>
              <a:t>‹#›</a:t>
            </a:fld>
            <a:endParaRPr lang="en-IN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348343" y="1171797"/>
            <a:ext cx="11645381" cy="48419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419888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B69E6D-5847-4A15-9C60-BC9F1502605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26671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2947988"/>
          </a:xfrm>
          <a:custGeom>
            <a:avLst/>
            <a:gdLst>
              <a:gd name="connsiteX0" fmla="*/ 0 w 12192000"/>
              <a:gd name="connsiteY0" fmla="*/ 0 h 2947988"/>
              <a:gd name="connsiteX1" fmla="*/ 12192000 w 12192000"/>
              <a:gd name="connsiteY1" fmla="*/ 0 h 2947988"/>
              <a:gd name="connsiteX2" fmla="*/ 12192000 w 12192000"/>
              <a:gd name="connsiteY2" fmla="*/ 2943812 h 2947988"/>
              <a:gd name="connsiteX3" fmla="*/ 12192000 w 12192000"/>
              <a:gd name="connsiteY3" fmla="*/ 2947988 h 2947988"/>
              <a:gd name="connsiteX4" fmla="*/ 0 w 12192000"/>
              <a:gd name="connsiteY4" fmla="*/ 2947988 h 2947988"/>
              <a:gd name="connsiteX5" fmla="*/ 0 w 12192000"/>
              <a:gd name="connsiteY5" fmla="*/ 2943812 h 2947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2947988">
                <a:moveTo>
                  <a:pt x="0" y="0"/>
                </a:moveTo>
                <a:lnTo>
                  <a:pt x="12192000" y="0"/>
                </a:lnTo>
                <a:lnTo>
                  <a:pt x="12192000" y="2943812"/>
                </a:lnTo>
                <a:lnTo>
                  <a:pt x="12192000" y="2947988"/>
                </a:lnTo>
                <a:lnTo>
                  <a:pt x="0" y="2947988"/>
                </a:lnTo>
                <a:lnTo>
                  <a:pt x="0" y="2943812"/>
                </a:lnTo>
                <a:close/>
              </a:path>
            </a:pathLst>
          </a:custGeom>
          <a:solidFill>
            <a:srgbClr val="C4113C"/>
          </a:solidFill>
        </p:spPr>
        <p:txBody>
          <a:bodyPr wrap="square">
            <a:noAutofit/>
          </a:bodyPr>
          <a:lstStyle/>
          <a:p>
            <a:endParaRPr lang="en-IN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1944944"/>
            <a:ext cx="12192000" cy="1003044"/>
          </a:xfrm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Custom Slide</a:t>
            </a:r>
          </a:p>
        </p:txBody>
      </p:sp>
    </p:spTree>
    <p:extLst>
      <p:ext uri="{BB962C8B-B14F-4D97-AF65-F5344CB8AC3E}">
        <p14:creationId xmlns:p14="http://schemas.microsoft.com/office/powerpoint/2010/main" val="13902885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2947988"/>
          </a:xfrm>
          <a:custGeom>
            <a:avLst/>
            <a:gdLst>
              <a:gd name="connsiteX0" fmla="*/ 0 w 12192000"/>
              <a:gd name="connsiteY0" fmla="*/ 0 h 2947988"/>
              <a:gd name="connsiteX1" fmla="*/ 12192000 w 12192000"/>
              <a:gd name="connsiteY1" fmla="*/ 0 h 2947988"/>
              <a:gd name="connsiteX2" fmla="*/ 12192000 w 12192000"/>
              <a:gd name="connsiteY2" fmla="*/ 2943812 h 2947988"/>
              <a:gd name="connsiteX3" fmla="*/ 12192000 w 12192000"/>
              <a:gd name="connsiteY3" fmla="*/ 2947988 h 2947988"/>
              <a:gd name="connsiteX4" fmla="*/ 0 w 12192000"/>
              <a:gd name="connsiteY4" fmla="*/ 2947988 h 2947988"/>
              <a:gd name="connsiteX5" fmla="*/ 0 w 12192000"/>
              <a:gd name="connsiteY5" fmla="*/ 2943812 h 2947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2947988">
                <a:moveTo>
                  <a:pt x="0" y="0"/>
                </a:moveTo>
                <a:lnTo>
                  <a:pt x="12192000" y="0"/>
                </a:lnTo>
                <a:lnTo>
                  <a:pt x="12192000" y="2943812"/>
                </a:lnTo>
                <a:lnTo>
                  <a:pt x="12192000" y="2947988"/>
                </a:lnTo>
                <a:lnTo>
                  <a:pt x="0" y="2947988"/>
                </a:lnTo>
                <a:lnTo>
                  <a:pt x="0" y="2943812"/>
                </a:lnTo>
                <a:close/>
              </a:path>
            </a:pathLst>
          </a:custGeom>
          <a:solidFill>
            <a:srgbClr val="C4113C"/>
          </a:solidFill>
        </p:spPr>
        <p:txBody>
          <a:bodyPr wrap="square">
            <a:noAutofit/>
          </a:bodyPr>
          <a:lstStyle/>
          <a:p>
            <a:endParaRPr lang="en-IN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972472"/>
            <a:ext cx="12192000" cy="1003044"/>
          </a:xfrm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Custom Slide</a:t>
            </a:r>
          </a:p>
        </p:txBody>
      </p:sp>
    </p:spTree>
    <p:extLst>
      <p:ext uri="{BB962C8B-B14F-4D97-AF65-F5344CB8AC3E}">
        <p14:creationId xmlns:p14="http://schemas.microsoft.com/office/powerpoint/2010/main" val="981721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2947988"/>
              <a:gd name="connsiteX1" fmla="*/ 12192000 w 12192000"/>
              <a:gd name="connsiteY1" fmla="*/ 0 h 2947988"/>
              <a:gd name="connsiteX2" fmla="*/ 12192000 w 12192000"/>
              <a:gd name="connsiteY2" fmla="*/ 2943812 h 2947988"/>
              <a:gd name="connsiteX3" fmla="*/ 12192000 w 12192000"/>
              <a:gd name="connsiteY3" fmla="*/ 2947988 h 2947988"/>
              <a:gd name="connsiteX4" fmla="*/ 0 w 12192000"/>
              <a:gd name="connsiteY4" fmla="*/ 2947988 h 2947988"/>
              <a:gd name="connsiteX5" fmla="*/ 0 w 12192000"/>
              <a:gd name="connsiteY5" fmla="*/ 2943812 h 2947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2947988">
                <a:moveTo>
                  <a:pt x="0" y="0"/>
                </a:moveTo>
                <a:lnTo>
                  <a:pt x="12192000" y="0"/>
                </a:lnTo>
                <a:lnTo>
                  <a:pt x="12192000" y="2943812"/>
                </a:lnTo>
                <a:lnTo>
                  <a:pt x="12192000" y="2947988"/>
                </a:lnTo>
                <a:lnTo>
                  <a:pt x="0" y="2947988"/>
                </a:lnTo>
                <a:lnTo>
                  <a:pt x="0" y="294381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560003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" y="339509"/>
            <a:ext cx="12192000" cy="79260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5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008DF3A5-76B0-4E36-B0C8-90B00A8736A3}"/>
              </a:ext>
            </a:extLst>
          </p:cNvPr>
          <p:cNvSpPr/>
          <p:nvPr userDrawn="1"/>
        </p:nvSpPr>
        <p:spPr>
          <a:xfrm>
            <a:off x="323530" y="6349287"/>
            <a:ext cx="565116" cy="347603"/>
          </a:xfrm>
          <a:custGeom>
            <a:avLst/>
            <a:gdLst>
              <a:gd name="connsiteX0" fmla="*/ 5086770 w 5086770"/>
              <a:gd name="connsiteY0" fmla="*/ 1174706 h 3128874"/>
              <a:gd name="connsiteX1" fmla="*/ 5086770 w 5086770"/>
              <a:gd name="connsiteY1" fmla="*/ 1184663 h 3128874"/>
              <a:gd name="connsiteX2" fmla="*/ 5079830 w 5086770"/>
              <a:gd name="connsiteY2" fmla="*/ 1185820 h 3128874"/>
              <a:gd name="connsiteX3" fmla="*/ 5078289 w 5086770"/>
              <a:gd name="connsiteY3" fmla="*/ 1182737 h 3128874"/>
              <a:gd name="connsiteX4" fmla="*/ 5078289 w 5086770"/>
              <a:gd name="connsiteY4" fmla="*/ 1179654 h 3128874"/>
              <a:gd name="connsiteX5" fmla="*/ 1690658 w 5086770"/>
              <a:gd name="connsiteY5" fmla="*/ 810655 h 3128874"/>
              <a:gd name="connsiteX6" fmla="*/ 1349061 w 5086770"/>
              <a:gd name="connsiteY6" fmla="*/ 1934928 h 3128874"/>
              <a:gd name="connsiteX7" fmla="*/ 2035854 w 5086770"/>
              <a:gd name="connsiteY7" fmla="*/ 1934928 h 3128874"/>
              <a:gd name="connsiteX8" fmla="*/ 3765314 w 5086770"/>
              <a:gd name="connsiteY8" fmla="*/ 0 h 3128874"/>
              <a:gd name="connsiteX9" fmla="*/ 4465138 w 5086770"/>
              <a:gd name="connsiteY9" fmla="*/ 0 h 3128874"/>
              <a:gd name="connsiteX10" fmla="*/ 4675955 w 5086770"/>
              <a:gd name="connsiteY10" fmla="*/ 0 h 3128874"/>
              <a:gd name="connsiteX11" fmla="*/ 4659036 w 5086770"/>
              <a:gd name="connsiteY11" fmla="*/ 34412 h 3128874"/>
              <a:gd name="connsiteX12" fmla="*/ 4651327 w 5086770"/>
              <a:gd name="connsiteY12" fmla="*/ 45203 h 3128874"/>
              <a:gd name="connsiteX13" fmla="*/ 4648245 w 5086770"/>
              <a:gd name="connsiteY13" fmla="*/ 51368 h 3128874"/>
              <a:gd name="connsiteX14" fmla="*/ 4483319 w 5086770"/>
              <a:gd name="connsiteY14" fmla="*/ 361184 h 3128874"/>
              <a:gd name="connsiteX15" fmla="*/ 4480236 w 5086770"/>
              <a:gd name="connsiteY15" fmla="*/ 373515 h 3128874"/>
              <a:gd name="connsiteX16" fmla="*/ 4474071 w 5086770"/>
              <a:gd name="connsiteY16" fmla="*/ 398176 h 3128874"/>
              <a:gd name="connsiteX17" fmla="*/ 4450950 w 5086770"/>
              <a:gd name="connsiteY17" fmla="*/ 498367 h 3128874"/>
              <a:gd name="connsiteX18" fmla="*/ 4440161 w 5086770"/>
              <a:gd name="connsiteY18" fmla="*/ 527652 h 3128874"/>
              <a:gd name="connsiteX19" fmla="*/ 4441700 w 5086770"/>
              <a:gd name="connsiteY19" fmla="*/ 539983 h 3128874"/>
              <a:gd name="connsiteX20" fmla="*/ 4437078 w 5086770"/>
              <a:gd name="connsiteY20" fmla="*/ 561562 h 3128874"/>
              <a:gd name="connsiteX21" fmla="*/ 4433995 w 5086770"/>
              <a:gd name="connsiteY21" fmla="*/ 576976 h 3128874"/>
              <a:gd name="connsiteX22" fmla="*/ 4433994 w 5086770"/>
              <a:gd name="connsiteY22" fmla="*/ 578519 h 3128874"/>
              <a:gd name="connsiteX23" fmla="*/ 4413956 w 5086770"/>
              <a:gd name="connsiteY23" fmla="*/ 797393 h 3128874"/>
              <a:gd name="connsiteX24" fmla="*/ 4438619 w 5086770"/>
              <a:gd name="connsiteY24" fmla="*/ 996230 h 3128874"/>
              <a:gd name="connsiteX25" fmla="*/ 4433995 w 5086770"/>
              <a:gd name="connsiteY25" fmla="*/ 1016268 h 3128874"/>
              <a:gd name="connsiteX26" fmla="*/ 4435536 w 5086770"/>
              <a:gd name="connsiteY26" fmla="*/ 1025517 h 3128874"/>
              <a:gd name="connsiteX27" fmla="*/ 4437078 w 5086770"/>
              <a:gd name="connsiteY27" fmla="*/ 1027057 h 3128874"/>
              <a:gd name="connsiteX28" fmla="*/ 4432452 w 5086770"/>
              <a:gd name="connsiteY28" fmla="*/ 1048636 h 3128874"/>
              <a:gd name="connsiteX29" fmla="*/ 4413956 w 5086770"/>
              <a:gd name="connsiteY29" fmla="*/ 1085630 h 3128874"/>
              <a:gd name="connsiteX30" fmla="*/ 4196623 w 5086770"/>
              <a:gd name="connsiteY30" fmla="*/ 1389280 h 3128874"/>
              <a:gd name="connsiteX31" fmla="*/ 4085645 w 5086770"/>
              <a:gd name="connsiteY31" fmla="*/ 1597365 h 3128874"/>
              <a:gd name="connsiteX32" fmla="*/ 4216661 w 5086770"/>
              <a:gd name="connsiteY32" fmla="*/ 1697556 h 3128874"/>
              <a:gd name="connsiteX33" fmla="*/ 4250571 w 5086770"/>
              <a:gd name="connsiteY33" fmla="*/ 1811617 h 3128874"/>
              <a:gd name="connsiteX34" fmla="*/ 4173502 w 5086770"/>
              <a:gd name="connsiteY34" fmla="*/ 1888685 h 3128874"/>
              <a:gd name="connsiteX35" fmla="*/ 4213578 w 5086770"/>
              <a:gd name="connsiteY35" fmla="*/ 2022784 h 3128874"/>
              <a:gd name="connsiteX36" fmla="*/ 4347678 w 5086770"/>
              <a:gd name="connsiteY36" fmla="*/ 2090605 h 3128874"/>
              <a:gd name="connsiteX37" fmla="*/ 4233616 w 5086770"/>
              <a:gd name="connsiteY37" fmla="*/ 2138388 h 3128874"/>
              <a:gd name="connsiteX38" fmla="*/ 4227451 w 5086770"/>
              <a:gd name="connsiteY38" fmla="*/ 2258616 h 3128874"/>
              <a:gd name="connsiteX39" fmla="*/ 4350761 w 5086770"/>
              <a:gd name="connsiteY39" fmla="*/ 2320270 h 3128874"/>
              <a:gd name="connsiteX40" fmla="*/ 4333805 w 5086770"/>
              <a:gd name="connsiteY40" fmla="*/ 2462077 h 3128874"/>
              <a:gd name="connsiteX41" fmla="*/ 4467905 w 5086770"/>
              <a:gd name="connsiteY41" fmla="*/ 2719486 h 3128874"/>
              <a:gd name="connsiteX42" fmla="*/ 4800655 w 5086770"/>
              <a:gd name="connsiteY42" fmla="*/ 2748491 h 3128874"/>
              <a:gd name="connsiteX43" fmla="*/ 4838191 w 5086770"/>
              <a:gd name="connsiteY43" fmla="*/ 2744074 h 3128874"/>
              <a:gd name="connsiteX44" fmla="*/ 4863823 w 5086770"/>
              <a:gd name="connsiteY44" fmla="*/ 2765476 h 3128874"/>
              <a:gd name="connsiteX45" fmla="*/ 4934321 w 5086770"/>
              <a:gd name="connsiteY45" fmla="*/ 2911083 h 3128874"/>
              <a:gd name="connsiteX46" fmla="*/ 4964162 w 5086770"/>
              <a:gd name="connsiteY46" fmla="*/ 3074402 h 3128874"/>
              <a:gd name="connsiteX47" fmla="*/ 4967647 w 5086770"/>
              <a:gd name="connsiteY47" fmla="*/ 3128874 h 3128874"/>
              <a:gd name="connsiteX48" fmla="*/ 4465138 w 5086770"/>
              <a:gd name="connsiteY48" fmla="*/ 3128874 h 3128874"/>
              <a:gd name="connsiteX49" fmla="*/ 4465138 w 5086770"/>
              <a:gd name="connsiteY49" fmla="*/ 3127460 h 3128874"/>
              <a:gd name="connsiteX50" fmla="*/ 3765314 w 5086770"/>
              <a:gd name="connsiteY50" fmla="*/ 3127460 h 3128874"/>
              <a:gd name="connsiteX51" fmla="*/ 1175459 w 5086770"/>
              <a:gd name="connsiteY51" fmla="*/ 0 h 3128874"/>
              <a:gd name="connsiteX52" fmla="*/ 2229594 w 5086770"/>
              <a:gd name="connsiteY52" fmla="*/ 0 h 3128874"/>
              <a:gd name="connsiteX53" fmla="*/ 3404781 w 5086770"/>
              <a:gd name="connsiteY53" fmla="*/ 3127460 h 3128874"/>
              <a:gd name="connsiteX54" fmla="*/ 2392789 w 5086770"/>
              <a:gd name="connsiteY54" fmla="*/ 3127460 h 3128874"/>
              <a:gd name="connsiteX55" fmla="*/ 2236317 w 5086770"/>
              <a:gd name="connsiteY55" fmla="*/ 2611186 h 3128874"/>
              <a:gd name="connsiteX56" fmla="*/ 1139165 w 5086770"/>
              <a:gd name="connsiteY56" fmla="*/ 2611186 h 3128874"/>
              <a:gd name="connsiteX57" fmla="*/ 986721 w 5086770"/>
              <a:gd name="connsiteY57" fmla="*/ 3127460 h 3128874"/>
              <a:gd name="connsiteX58" fmla="*/ 0 w 5086770"/>
              <a:gd name="connsiteY58" fmla="*/ 3127460 h 3128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5086770" h="3128874">
                <a:moveTo>
                  <a:pt x="5086770" y="1174706"/>
                </a:moveTo>
                <a:lnTo>
                  <a:pt x="5086770" y="1184663"/>
                </a:lnTo>
                <a:lnTo>
                  <a:pt x="5079830" y="1185820"/>
                </a:lnTo>
                <a:cubicBezTo>
                  <a:pt x="5079829" y="1184277"/>
                  <a:pt x="5078289" y="1184277"/>
                  <a:pt x="5078289" y="1182737"/>
                </a:cubicBezTo>
                <a:lnTo>
                  <a:pt x="5078289" y="1179654"/>
                </a:lnTo>
                <a:close/>
                <a:moveTo>
                  <a:pt x="1690658" y="810655"/>
                </a:moveTo>
                <a:lnTo>
                  <a:pt x="1349061" y="1934928"/>
                </a:lnTo>
                <a:lnTo>
                  <a:pt x="2035854" y="1934928"/>
                </a:lnTo>
                <a:close/>
                <a:moveTo>
                  <a:pt x="3765314" y="0"/>
                </a:moveTo>
                <a:lnTo>
                  <a:pt x="4465138" y="0"/>
                </a:lnTo>
                <a:lnTo>
                  <a:pt x="4675955" y="0"/>
                </a:lnTo>
                <a:lnTo>
                  <a:pt x="4659036" y="34412"/>
                </a:lnTo>
                <a:cubicBezTo>
                  <a:pt x="4655952" y="37496"/>
                  <a:pt x="4652870" y="40578"/>
                  <a:pt x="4651327" y="45203"/>
                </a:cubicBezTo>
                <a:cubicBezTo>
                  <a:pt x="4649787" y="48285"/>
                  <a:pt x="4649788" y="49827"/>
                  <a:pt x="4648245" y="51368"/>
                </a:cubicBezTo>
                <a:cubicBezTo>
                  <a:pt x="4632831" y="72947"/>
                  <a:pt x="4528018" y="224002"/>
                  <a:pt x="4483319" y="361184"/>
                </a:cubicBezTo>
                <a:cubicBezTo>
                  <a:pt x="4481777" y="365808"/>
                  <a:pt x="4480236" y="368891"/>
                  <a:pt x="4480236" y="373515"/>
                </a:cubicBezTo>
                <a:cubicBezTo>
                  <a:pt x="4478694" y="381223"/>
                  <a:pt x="4475612" y="390471"/>
                  <a:pt x="4474071" y="398176"/>
                </a:cubicBezTo>
                <a:cubicBezTo>
                  <a:pt x="4466362" y="432087"/>
                  <a:pt x="4458657" y="465997"/>
                  <a:pt x="4450950" y="498367"/>
                </a:cubicBezTo>
                <a:cubicBezTo>
                  <a:pt x="4444783" y="506073"/>
                  <a:pt x="4440160" y="516863"/>
                  <a:pt x="4440161" y="527652"/>
                </a:cubicBezTo>
                <a:cubicBezTo>
                  <a:pt x="4440160" y="532277"/>
                  <a:pt x="4440160" y="535360"/>
                  <a:pt x="4441700" y="539983"/>
                </a:cubicBezTo>
                <a:cubicBezTo>
                  <a:pt x="4440161" y="547691"/>
                  <a:pt x="4438618" y="555397"/>
                  <a:pt x="4437078" y="561562"/>
                </a:cubicBezTo>
                <a:cubicBezTo>
                  <a:pt x="4435535" y="566187"/>
                  <a:pt x="4433995" y="570810"/>
                  <a:pt x="4433995" y="576976"/>
                </a:cubicBezTo>
                <a:cubicBezTo>
                  <a:pt x="4433995" y="576976"/>
                  <a:pt x="4433994" y="578519"/>
                  <a:pt x="4433994" y="578519"/>
                </a:cubicBezTo>
                <a:cubicBezTo>
                  <a:pt x="4417039" y="674083"/>
                  <a:pt x="4407790" y="755776"/>
                  <a:pt x="4413956" y="797393"/>
                </a:cubicBezTo>
                <a:cubicBezTo>
                  <a:pt x="4421664" y="846717"/>
                  <a:pt x="4440160" y="929951"/>
                  <a:pt x="4438619" y="996230"/>
                </a:cubicBezTo>
                <a:cubicBezTo>
                  <a:pt x="4435535" y="1002395"/>
                  <a:pt x="4433995" y="1008560"/>
                  <a:pt x="4433995" y="1016268"/>
                </a:cubicBezTo>
                <a:cubicBezTo>
                  <a:pt x="4433995" y="1019351"/>
                  <a:pt x="4435536" y="1022434"/>
                  <a:pt x="4435536" y="1025517"/>
                </a:cubicBezTo>
                <a:cubicBezTo>
                  <a:pt x="4435536" y="1025517"/>
                  <a:pt x="4435535" y="1027057"/>
                  <a:pt x="4437078" y="1027057"/>
                </a:cubicBezTo>
                <a:cubicBezTo>
                  <a:pt x="4435536" y="1034764"/>
                  <a:pt x="4433994" y="1042471"/>
                  <a:pt x="4432452" y="1048636"/>
                </a:cubicBezTo>
                <a:lnTo>
                  <a:pt x="4413956" y="1085630"/>
                </a:lnTo>
                <a:cubicBezTo>
                  <a:pt x="4369257" y="1164240"/>
                  <a:pt x="4258278" y="1339957"/>
                  <a:pt x="4196623" y="1389280"/>
                </a:cubicBezTo>
                <a:cubicBezTo>
                  <a:pt x="4128802" y="1441687"/>
                  <a:pt x="4062523" y="1538793"/>
                  <a:pt x="4085645" y="1597365"/>
                </a:cubicBezTo>
                <a:cubicBezTo>
                  <a:pt x="4119555" y="1660562"/>
                  <a:pt x="4181210" y="1688307"/>
                  <a:pt x="4216661" y="1697556"/>
                </a:cubicBezTo>
                <a:cubicBezTo>
                  <a:pt x="4252112" y="1706804"/>
                  <a:pt x="4275233" y="1779247"/>
                  <a:pt x="4250571" y="1811617"/>
                </a:cubicBezTo>
                <a:cubicBezTo>
                  <a:pt x="4225909" y="1843985"/>
                  <a:pt x="4187375" y="1853233"/>
                  <a:pt x="4173502" y="1888685"/>
                </a:cubicBezTo>
                <a:cubicBezTo>
                  <a:pt x="4159630" y="1924137"/>
                  <a:pt x="4153465" y="1998123"/>
                  <a:pt x="4213578" y="2022784"/>
                </a:cubicBezTo>
                <a:cubicBezTo>
                  <a:pt x="4259818" y="2041281"/>
                  <a:pt x="4349219" y="2081356"/>
                  <a:pt x="4347678" y="2090605"/>
                </a:cubicBezTo>
                <a:cubicBezTo>
                  <a:pt x="4346136" y="2099853"/>
                  <a:pt x="4250570" y="2107561"/>
                  <a:pt x="4233616" y="2138388"/>
                </a:cubicBezTo>
                <a:cubicBezTo>
                  <a:pt x="4216660" y="2169216"/>
                  <a:pt x="4204330" y="2220080"/>
                  <a:pt x="4227451" y="2258616"/>
                </a:cubicBezTo>
                <a:cubicBezTo>
                  <a:pt x="4250571" y="2297149"/>
                  <a:pt x="4332264" y="2292526"/>
                  <a:pt x="4350761" y="2320270"/>
                </a:cubicBezTo>
                <a:cubicBezTo>
                  <a:pt x="4381588" y="2371135"/>
                  <a:pt x="4358466" y="2378843"/>
                  <a:pt x="4333805" y="2462077"/>
                </a:cubicBezTo>
                <a:cubicBezTo>
                  <a:pt x="4306060" y="2551476"/>
                  <a:pt x="4302977" y="2650125"/>
                  <a:pt x="4467905" y="2719486"/>
                </a:cubicBezTo>
                <a:cubicBezTo>
                  <a:pt x="4562314" y="2758983"/>
                  <a:pt x="4694054" y="2758743"/>
                  <a:pt x="4800655" y="2748491"/>
                </a:cubicBezTo>
                <a:lnTo>
                  <a:pt x="4838191" y="2744074"/>
                </a:lnTo>
                <a:lnTo>
                  <a:pt x="4863823" y="2765476"/>
                </a:lnTo>
                <a:cubicBezTo>
                  <a:pt x="4895578" y="2799449"/>
                  <a:pt x="4917344" y="2847230"/>
                  <a:pt x="4934321" y="2911083"/>
                </a:cubicBezTo>
                <a:cubicBezTo>
                  <a:pt x="4945640" y="2953651"/>
                  <a:pt x="4957371" y="3013267"/>
                  <a:pt x="4964162" y="3074402"/>
                </a:cubicBezTo>
                <a:lnTo>
                  <a:pt x="4967647" y="3128874"/>
                </a:lnTo>
                <a:lnTo>
                  <a:pt x="4465138" y="3128874"/>
                </a:lnTo>
                <a:lnTo>
                  <a:pt x="4465138" y="3127460"/>
                </a:lnTo>
                <a:lnTo>
                  <a:pt x="3765314" y="3127460"/>
                </a:lnTo>
                <a:close/>
                <a:moveTo>
                  <a:pt x="1175459" y="0"/>
                </a:moveTo>
                <a:lnTo>
                  <a:pt x="2229594" y="0"/>
                </a:lnTo>
                <a:lnTo>
                  <a:pt x="3404781" y="3127460"/>
                </a:lnTo>
                <a:lnTo>
                  <a:pt x="2392789" y="3127460"/>
                </a:lnTo>
                <a:lnTo>
                  <a:pt x="2236317" y="2611186"/>
                </a:lnTo>
                <a:lnTo>
                  <a:pt x="1139165" y="2611186"/>
                </a:lnTo>
                <a:lnTo>
                  <a:pt x="986721" y="3127460"/>
                </a:lnTo>
                <a:lnTo>
                  <a:pt x="0" y="31274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995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Hexago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 userDrawn="1"/>
        </p:nvSpPr>
        <p:spPr>
          <a:xfrm>
            <a:off x="0" y="0"/>
            <a:ext cx="12195175" cy="68611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AAFD9-7181-4BA5-A2B7-821424B51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193" y="1412421"/>
            <a:ext cx="4065037" cy="24003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D275F703-BAB3-4AC2-B21C-F4D222E29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1265" y="4157433"/>
            <a:ext cx="4054965" cy="1005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Avenir Book" panose="02000503020000020003" pitchFamily="2" charset="0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title text (optional)</a:t>
            </a:r>
          </a:p>
        </p:txBody>
      </p:sp>
      <p:sp>
        <p:nvSpPr>
          <p:cNvPr id="34" name="Picture Placeholder 33"/>
          <p:cNvSpPr>
            <a:spLocks noGrp="1"/>
          </p:cNvSpPr>
          <p:nvPr>
            <p:ph type="pic" sz="quarter" idx="12"/>
          </p:nvPr>
        </p:nvSpPr>
        <p:spPr>
          <a:xfrm>
            <a:off x="2584450" y="0"/>
            <a:ext cx="9610725" cy="6861175"/>
          </a:xfrm>
          <a:custGeom>
            <a:avLst/>
            <a:gdLst>
              <a:gd name="connsiteX0" fmla="*/ 0 w 9610725"/>
              <a:gd name="connsiteY0" fmla="*/ 0 h 6861175"/>
              <a:gd name="connsiteX1" fmla="*/ 9610725 w 9610725"/>
              <a:gd name="connsiteY1" fmla="*/ 0 h 6861175"/>
              <a:gd name="connsiteX2" fmla="*/ 9610725 w 9610725"/>
              <a:gd name="connsiteY2" fmla="*/ 6861175 h 6861175"/>
              <a:gd name="connsiteX3" fmla="*/ 0 w 9610725"/>
              <a:gd name="connsiteY3" fmla="*/ 6861175 h 6861175"/>
              <a:gd name="connsiteX4" fmla="*/ 2285067 w 9610725"/>
              <a:gd name="connsiteY4" fmla="*/ 3432268 h 6861175"/>
              <a:gd name="connsiteX5" fmla="*/ 0 w 9610725"/>
              <a:gd name="connsiteY5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10725" h="6861175">
                <a:moveTo>
                  <a:pt x="0" y="0"/>
                </a:moveTo>
                <a:lnTo>
                  <a:pt x="9610725" y="0"/>
                </a:lnTo>
                <a:cubicBezTo>
                  <a:pt x="9610725" y="0"/>
                  <a:pt x="9610725" y="0"/>
                  <a:pt x="9610725" y="6861175"/>
                </a:cubicBezTo>
                <a:cubicBezTo>
                  <a:pt x="9610725" y="6861175"/>
                  <a:pt x="9610725" y="6861175"/>
                  <a:pt x="0" y="6861175"/>
                </a:cubicBezTo>
                <a:cubicBezTo>
                  <a:pt x="1340797" y="6303137"/>
                  <a:pt x="2285067" y="4978638"/>
                  <a:pt x="2285067" y="3432268"/>
                </a:cubicBezTo>
                <a:cubicBezTo>
                  <a:pt x="2285067" y="1885899"/>
                  <a:pt x="1340797" y="561399"/>
                  <a:pt x="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300599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 Hexago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 userDrawn="1"/>
        </p:nvSpPr>
        <p:spPr>
          <a:xfrm>
            <a:off x="0" y="0"/>
            <a:ext cx="12195175" cy="68611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AAFD9-7181-4BA5-A2B7-821424B51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193" y="1412421"/>
            <a:ext cx="4065037" cy="24003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D275F703-BAB3-4AC2-B21C-F4D222E29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1265" y="4157433"/>
            <a:ext cx="4054965" cy="1005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Avenir Book" panose="02000503020000020003" pitchFamily="2" charset="0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title text (optional)</a:t>
            </a:r>
          </a:p>
        </p:txBody>
      </p:sp>
      <p:sp>
        <p:nvSpPr>
          <p:cNvPr id="34" name="Picture Placeholder 33"/>
          <p:cNvSpPr>
            <a:spLocks noGrp="1"/>
          </p:cNvSpPr>
          <p:nvPr>
            <p:ph type="pic" sz="quarter" idx="12"/>
          </p:nvPr>
        </p:nvSpPr>
        <p:spPr>
          <a:xfrm>
            <a:off x="2584450" y="0"/>
            <a:ext cx="9610725" cy="6861175"/>
          </a:xfrm>
          <a:custGeom>
            <a:avLst/>
            <a:gdLst>
              <a:gd name="connsiteX0" fmla="*/ 0 w 9610725"/>
              <a:gd name="connsiteY0" fmla="*/ 0 h 6861175"/>
              <a:gd name="connsiteX1" fmla="*/ 9610725 w 9610725"/>
              <a:gd name="connsiteY1" fmla="*/ 0 h 6861175"/>
              <a:gd name="connsiteX2" fmla="*/ 9610725 w 9610725"/>
              <a:gd name="connsiteY2" fmla="*/ 6861175 h 6861175"/>
              <a:gd name="connsiteX3" fmla="*/ 0 w 9610725"/>
              <a:gd name="connsiteY3" fmla="*/ 6861175 h 6861175"/>
              <a:gd name="connsiteX4" fmla="*/ 2285067 w 9610725"/>
              <a:gd name="connsiteY4" fmla="*/ 3432268 h 6861175"/>
              <a:gd name="connsiteX5" fmla="*/ 0 w 9610725"/>
              <a:gd name="connsiteY5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10725" h="6861175">
                <a:moveTo>
                  <a:pt x="0" y="0"/>
                </a:moveTo>
                <a:lnTo>
                  <a:pt x="9610725" y="0"/>
                </a:lnTo>
                <a:cubicBezTo>
                  <a:pt x="9610725" y="0"/>
                  <a:pt x="9610725" y="0"/>
                  <a:pt x="9610725" y="6861175"/>
                </a:cubicBezTo>
                <a:cubicBezTo>
                  <a:pt x="9610725" y="6861175"/>
                  <a:pt x="9610725" y="6861175"/>
                  <a:pt x="0" y="6861175"/>
                </a:cubicBezTo>
                <a:cubicBezTo>
                  <a:pt x="1340797" y="6303137"/>
                  <a:pt x="2285067" y="4978638"/>
                  <a:pt x="2285067" y="3432268"/>
                </a:cubicBezTo>
                <a:cubicBezTo>
                  <a:pt x="2285067" y="1885899"/>
                  <a:pt x="1340797" y="561399"/>
                  <a:pt x="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71732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Hexago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33"/>
          <p:cNvSpPr>
            <a:spLocks noGrp="1"/>
          </p:cNvSpPr>
          <p:nvPr>
            <p:ph type="pic" sz="quarter" idx="12"/>
          </p:nvPr>
        </p:nvSpPr>
        <p:spPr>
          <a:xfrm>
            <a:off x="2584450" y="0"/>
            <a:ext cx="9610725" cy="6861175"/>
          </a:xfrm>
          <a:custGeom>
            <a:avLst/>
            <a:gdLst>
              <a:gd name="connsiteX0" fmla="*/ 0 w 9610725"/>
              <a:gd name="connsiteY0" fmla="*/ 0 h 6861175"/>
              <a:gd name="connsiteX1" fmla="*/ 9610725 w 9610725"/>
              <a:gd name="connsiteY1" fmla="*/ 0 h 6861175"/>
              <a:gd name="connsiteX2" fmla="*/ 9610725 w 9610725"/>
              <a:gd name="connsiteY2" fmla="*/ 6861175 h 6861175"/>
              <a:gd name="connsiteX3" fmla="*/ 0 w 9610725"/>
              <a:gd name="connsiteY3" fmla="*/ 6861175 h 6861175"/>
              <a:gd name="connsiteX4" fmla="*/ 2285067 w 9610725"/>
              <a:gd name="connsiteY4" fmla="*/ 3432268 h 6861175"/>
              <a:gd name="connsiteX5" fmla="*/ 0 w 9610725"/>
              <a:gd name="connsiteY5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10725" h="6861175">
                <a:moveTo>
                  <a:pt x="0" y="0"/>
                </a:moveTo>
                <a:lnTo>
                  <a:pt x="9610725" y="0"/>
                </a:lnTo>
                <a:cubicBezTo>
                  <a:pt x="9610725" y="0"/>
                  <a:pt x="9610725" y="0"/>
                  <a:pt x="9610725" y="6861175"/>
                </a:cubicBezTo>
                <a:cubicBezTo>
                  <a:pt x="9610725" y="6861175"/>
                  <a:pt x="9610725" y="6861175"/>
                  <a:pt x="0" y="6861175"/>
                </a:cubicBezTo>
                <a:cubicBezTo>
                  <a:pt x="1340797" y="6303137"/>
                  <a:pt x="2285067" y="4978638"/>
                  <a:pt x="2285067" y="3432268"/>
                </a:cubicBezTo>
                <a:cubicBezTo>
                  <a:pt x="2285067" y="1885899"/>
                  <a:pt x="1340797" y="561399"/>
                  <a:pt x="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AAFD9-7181-4BA5-A2B7-821424B51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193" y="1412421"/>
            <a:ext cx="4065037" cy="24003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53">
            <a:extLst>
              <a:ext uri="{FF2B5EF4-FFF2-40B4-BE49-F238E27FC236}">
                <a16:creationId xmlns:a16="http://schemas.microsoft.com/office/drawing/2014/main" id="{D275F703-BAB3-4AC2-B21C-F4D222E298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1265" y="4157433"/>
            <a:ext cx="4054965" cy="10058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Avenir Book" panose="02000503020000020003" pitchFamily="2" charset="0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title text (optional)</a:t>
            </a:r>
          </a:p>
        </p:txBody>
      </p:sp>
    </p:spTree>
    <p:extLst>
      <p:ext uri="{BB962C8B-B14F-4D97-AF65-F5344CB8AC3E}">
        <p14:creationId xmlns:p14="http://schemas.microsoft.com/office/powerpoint/2010/main" val="41535747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734853" y="4800603"/>
            <a:ext cx="4901047" cy="968375"/>
          </a:xfrm>
        </p:spPr>
        <p:txBody>
          <a:bodyPr/>
          <a:lstStyle>
            <a:lvl1pPr algn="r"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12016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rgbClr val="C411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-209243" y="645364"/>
            <a:ext cx="13043116" cy="6447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1300" kern="700" spc="-20" dirty="0">
                <a:solidFill>
                  <a:schemeClr val="bg2">
                    <a:alpha val="4000"/>
                  </a:schemeClr>
                </a:solidFill>
                <a:latin typeface="Avenir Black" panose="020B0803020203020204" pitchFamily="34" charset="0"/>
              </a:rPr>
              <a:t>2019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-198160" y="656446"/>
            <a:ext cx="13043116" cy="6447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1300" kern="700" spc="-20" dirty="0">
                <a:solidFill>
                  <a:schemeClr val="bg2">
                    <a:alpha val="4000"/>
                  </a:schemeClr>
                </a:solidFill>
                <a:latin typeface="Avenir Black" panose="020B0803020203020204" pitchFamily="34" charset="0"/>
              </a:rPr>
              <a:t>2019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449536"/>
            <a:ext cx="12192000" cy="693284"/>
          </a:xfrm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5102678"/>
            <a:ext cx="12192000" cy="653143"/>
          </a:xfrm>
        </p:spPr>
        <p:txBody>
          <a:bodyPr anchor="ctr"/>
          <a:lstStyle>
            <a:lvl1pPr marL="0" indent="0" algn="ctr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IN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7839" y="1404863"/>
            <a:ext cx="7356322" cy="3036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130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E3B69D-9131-48D8-A926-B4C9F63912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68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E3B69D-9131-48D8-A926-B4C9F6391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solidFill>
                <a:srgbClr val="000000"/>
              </a:solidFill>
              <a:latin typeface="Avenir Black" panose="020B0803020203020204"/>
              <a:ea typeface="Arial Unicode MS"/>
              <a:sym typeface="Avenir Black" panose="020B0803020203020204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426721" y="192261"/>
            <a:ext cx="9916033" cy="492443"/>
          </a:xfrm>
        </p:spPr>
        <p:txBody>
          <a:bodyPr/>
          <a:lstStyle>
            <a:lvl1pPr>
              <a:defRPr sz="3200">
                <a:solidFill>
                  <a:srgbClr val="BF0D3E"/>
                </a:solidFill>
                <a:latin typeface="Avenir Black" panose="020B0803020203020204"/>
                <a:ea typeface="Arial Unicode MS" pitchFamily="34" charset="-128"/>
                <a:cs typeface="Avenir Black" panose="020B0803020203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00692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4113C"/>
          </a:solidFill>
          <a:ln w="9525" cap="rnd" cmpd="sng" algn="ctr">
            <a:solidFill>
              <a:srgbClr val="C4113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smtClean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pyright © 2019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190802 Function Fact Pack_Op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89560" y="228600"/>
            <a:ext cx="11612880" cy="731520"/>
          </a:xfrm>
        </p:spPr>
        <p:txBody>
          <a:bodyPr>
            <a:noAutofit/>
          </a:bodyPr>
          <a:lstStyle>
            <a:lvl1pPr>
              <a:defRPr>
                <a:solidFill>
                  <a:schemeClr val="accent3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560" y="6264275"/>
            <a:ext cx="1283319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282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E3B69D-9131-48D8-A926-B4C9F63912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39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E3B69D-9131-48D8-A926-B4C9F6391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00" dirty="0" smtClean="0">
              <a:solidFill>
                <a:srgbClr val="000000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426721" y="376927"/>
            <a:ext cx="9916033" cy="307777"/>
          </a:xfrm>
        </p:spPr>
        <p:txBody>
          <a:bodyPr/>
          <a:lstStyle>
            <a:lvl1pPr>
              <a:defRPr sz="2000">
                <a:solidFill>
                  <a:srgbClr val="BF0D3E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9733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>
            <a:extLst>
              <a:ext uri="{FF2B5EF4-FFF2-40B4-BE49-F238E27FC236}">
                <a16:creationId xmlns:a16="http://schemas.microsoft.com/office/drawing/2014/main" id="{40D8B2A4-396A-46BB-B26B-E967479108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37989" y="6553733"/>
            <a:ext cx="2844031" cy="153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A2091B-F50E-4776-AA55-094AF569FF6C}" type="slidenum">
              <a:rPr lang="en-US" altLang="en-US">
                <a:solidFill>
                  <a:srgbClr val="4D4D4D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804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9B13E7-B316-6546-BC73-C33B6E1581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B16721-174C-EB4C-9E53-53C8B6048F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4D9962-A62A-DD4B-BB4E-259DCB43B4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E8905E-6E3A-D443-BDB7-6CB9A84B979D}" type="datetimeFigureOut">
              <a:rPr lang="en-US" smtClean="0"/>
              <a:t>1/22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CF6770-FE87-FE4E-BCB7-DB54BC798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054E4A-B0A2-4E41-AA44-340BCE96059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989" y="6553733"/>
            <a:ext cx="2844031" cy="153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A2091B-F50E-4776-AA55-094AF569FF6C}" type="slidenum">
              <a:rPr lang="en-US" altLang="en-US">
                <a:solidFill>
                  <a:srgbClr val="4D4D4D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500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16882" y="6553733"/>
            <a:ext cx="2844031" cy="1538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A8E55C-DFC6-45AC-8A31-267238BB4E2F}" type="slidenum">
              <a:rPr lang="en-US" altLang="en-US">
                <a:solidFill>
                  <a:srgbClr val="4D4D4D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061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734853" y="4800603"/>
            <a:ext cx="4901047" cy="968375"/>
          </a:xfrm>
        </p:spPr>
        <p:txBody>
          <a:bodyPr/>
          <a:lstStyle>
            <a:lvl1pPr algn="r"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3201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Rectangle 286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6477000" y="919295"/>
            <a:ext cx="5257800" cy="1040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432" tIns="27432" rIns="27432" bIns="27432" numCol="1" anchor="t" anchorCtr="0" compatLnSpc="1">
            <a:prstTxWarp prst="textNoShape">
              <a:avLst/>
            </a:prstTxWarp>
            <a:spAutoFit/>
          </a:bodyPr>
          <a:lstStyle>
            <a:lvl3pPr marL="447102" indent="-248921">
              <a:buSzPct val="100000"/>
              <a:buFont typeface="Wingdings" panose="05000000000000000000" pitchFamily="2" charset="2"/>
              <a:buChar char="§"/>
              <a:defRPr/>
            </a:lvl3pPr>
            <a:lvl4pPr marL="608825" indent="-168063">
              <a:buFont typeface="Calibri" panose="020F0502020204030204" pitchFamily="34" charset="0"/>
              <a:buChar char="–"/>
              <a:defRPr/>
            </a:lvl4pPr>
            <a:lvl5pPr marL="778472" indent="-160134">
              <a:buFont typeface="Courier New" panose="02070309020205020404" pitchFamily="49" charset="0"/>
              <a:buChar char="o"/>
              <a:defRPr/>
            </a:lvl5pPr>
          </a:lstStyle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6077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11907988" y="6626304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5E7EE404-23FA-46C5-98C7-A1457D8AA51E}" type="slidenum">
              <a:rPr lang="en-US" sz="1000" smtClean="0">
                <a:solidFill>
                  <a:srgbClr val="000000"/>
                </a:solidFill>
                <a:latin typeface="Calibri"/>
              </a:rPr>
              <a:pPr/>
              <a:t>‹#›</a:t>
            </a:fld>
            <a:endParaRPr lang="en-US" sz="1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" name="Rectangle 286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6477000" y="919295"/>
            <a:ext cx="5257800" cy="1040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432" tIns="27432" rIns="27432" bIns="27432" numCol="1" anchor="t" anchorCtr="0" compatLnSpc="1">
            <a:prstTxWarp prst="textNoShape">
              <a:avLst/>
            </a:prstTxWarp>
            <a:spAutoFit/>
          </a:bodyPr>
          <a:lstStyle>
            <a:lvl3pPr marL="447102" indent="-248921">
              <a:buSzPct val="100000"/>
              <a:buFont typeface="Wingdings" panose="05000000000000000000" pitchFamily="2" charset="2"/>
              <a:buChar char="§"/>
              <a:defRPr/>
            </a:lvl3pPr>
            <a:lvl4pPr marL="608825" indent="-168063">
              <a:buFont typeface="Calibri" panose="020F0502020204030204" pitchFamily="34" charset="0"/>
              <a:buChar char="–"/>
              <a:defRPr/>
            </a:lvl4pPr>
            <a:lvl5pPr marL="778472" indent="-160134">
              <a:buFont typeface="Courier New" panose="02070309020205020404" pitchFamily="49" charset="0"/>
              <a:buChar char="o"/>
              <a:defRPr/>
            </a:lvl5pPr>
          </a:lstStyle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845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11907988" y="6626304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5E7EE404-23FA-46C5-98C7-A1457D8AA51E}" type="slidenum">
              <a:rPr lang="en-US" sz="1000" smtClean="0">
                <a:solidFill>
                  <a:srgbClr val="000000"/>
                </a:solidFill>
                <a:latin typeface="Calibri"/>
              </a:rPr>
              <a:pPr/>
              <a:t>‹#›</a:t>
            </a:fld>
            <a:endParaRPr lang="en-US" sz="1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" name="Rectangle 286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6477000" y="919295"/>
            <a:ext cx="5257800" cy="1040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432" tIns="27432" rIns="27432" bIns="27432" numCol="1" anchor="t" anchorCtr="0" compatLnSpc="1">
            <a:prstTxWarp prst="textNoShape">
              <a:avLst/>
            </a:prstTxWarp>
            <a:spAutoFit/>
          </a:bodyPr>
          <a:lstStyle>
            <a:lvl3pPr marL="447102" indent="-248921">
              <a:buSzPct val="100000"/>
              <a:buFont typeface="Wingdings" panose="05000000000000000000" pitchFamily="2" charset="2"/>
              <a:buChar char="§"/>
              <a:defRPr/>
            </a:lvl3pPr>
            <a:lvl4pPr marL="608825" indent="-168063">
              <a:buFont typeface="Calibri" panose="020F0502020204030204" pitchFamily="34" charset="0"/>
              <a:buChar char="–"/>
              <a:defRPr/>
            </a:lvl4pPr>
            <a:lvl5pPr marL="778472" indent="-160134">
              <a:buFont typeface="Courier New" panose="02070309020205020404" pitchFamily="49" charset="0"/>
              <a:buChar char="o"/>
              <a:defRPr/>
            </a:lvl5pPr>
          </a:lstStyle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7118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6EA858-93CE-4D06-9C6D-A90AD275D61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523794" y="2321824"/>
            <a:ext cx="6375400" cy="2677214"/>
          </a:xfrm>
        </p:spPr>
        <p:txBody>
          <a:bodyPr anchor="b"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5523794" y="5357813"/>
            <a:ext cx="6375400" cy="4479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523794" y="5178425"/>
            <a:ext cx="6668206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icture Placeholder 15"/>
          <p:cNvSpPr>
            <a:spLocks noGrp="1"/>
          </p:cNvSpPr>
          <p:nvPr>
            <p:ph type="pic" sz="quarter" idx="12"/>
          </p:nvPr>
        </p:nvSpPr>
        <p:spPr>
          <a:xfrm>
            <a:off x="0" y="-9054"/>
            <a:ext cx="9698507" cy="6892452"/>
          </a:xfrm>
          <a:custGeom>
            <a:avLst/>
            <a:gdLst>
              <a:gd name="connsiteX0" fmla="*/ 9522509 w 9698507"/>
              <a:gd name="connsiteY0" fmla="*/ 0 h 6892452"/>
              <a:gd name="connsiteX1" fmla="*/ 8859022 w 9698507"/>
              <a:gd name="connsiteY1" fmla="*/ 798585 h 6892452"/>
              <a:gd name="connsiteX2" fmla="*/ 7704499 w 9698507"/>
              <a:gd name="connsiteY2" fmla="*/ 1095469 h 6892452"/>
              <a:gd name="connsiteX3" fmla="*/ 7286625 w 9698507"/>
              <a:gd name="connsiteY3" fmla="*/ 1120303 h 6892452"/>
              <a:gd name="connsiteX4" fmla="*/ 6865230 w 9698507"/>
              <a:gd name="connsiteY4" fmla="*/ 1440444 h 6892452"/>
              <a:gd name="connsiteX5" fmla="*/ 4780457 w 9698507"/>
              <a:gd name="connsiteY5" fmla="*/ 3869544 h 6892452"/>
              <a:gd name="connsiteX6" fmla="*/ 2534970 w 9698507"/>
              <a:gd name="connsiteY6" fmla="*/ 6491335 h 6892452"/>
              <a:gd name="connsiteX7" fmla="*/ 1700011 w 9698507"/>
              <a:gd name="connsiteY7" fmla="*/ 6855462 h 6892452"/>
              <a:gd name="connsiteX8" fmla="*/ 1322212 w 9698507"/>
              <a:gd name="connsiteY8" fmla="*/ 6892452 h 6892452"/>
              <a:gd name="connsiteX9" fmla="*/ 429664 w 9698507"/>
              <a:gd name="connsiteY9" fmla="*/ 6879332 h 6892452"/>
              <a:gd name="connsiteX10" fmla="*/ 217983 w 9698507"/>
              <a:gd name="connsiteY10" fmla="*/ 6879932 h 6892452"/>
              <a:gd name="connsiteX11" fmla="*/ 0 w 9698507"/>
              <a:gd name="connsiteY11" fmla="*/ 6879932 h 6892452"/>
              <a:gd name="connsiteX12" fmla="*/ 0 w 9698507"/>
              <a:gd name="connsiteY12" fmla="*/ 9053 h 6892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698507" h="6892452">
                <a:moveTo>
                  <a:pt x="9522509" y="0"/>
                </a:moveTo>
                <a:cubicBezTo>
                  <a:pt x="10089491" y="76293"/>
                  <a:pt x="9128637" y="721570"/>
                  <a:pt x="8859022" y="798585"/>
                </a:cubicBezTo>
                <a:cubicBezTo>
                  <a:pt x="8519136" y="964408"/>
                  <a:pt x="8118279" y="1043458"/>
                  <a:pt x="7704499" y="1095469"/>
                </a:cubicBezTo>
                <a:cubicBezTo>
                  <a:pt x="7518633" y="1113634"/>
                  <a:pt x="7346070" y="1129482"/>
                  <a:pt x="7286625" y="1120303"/>
                </a:cubicBezTo>
                <a:cubicBezTo>
                  <a:pt x="7277980" y="1117474"/>
                  <a:pt x="7145341" y="1111883"/>
                  <a:pt x="6865230" y="1440444"/>
                </a:cubicBezTo>
                <a:cubicBezTo>
                  <a:pt x="5700845" y="2358024"/>
                  <a:pt x="5300590" y="3056193"/>
                  <a:pt x="4780457" y="3869544"/>
                </a:cubicBezTo>
                <a:cubicBezTo>
                  <a:pt x="4107879" y="4874243"/>
                  <a:pt x="3535409" y="5777998"/>
                  <a:pt x="2534970" y="6491335"/>
                </a:cubicBezTo>
                <a:cubicBezTo>
                  <a:pt x="2265403" y="6692344"/>
                  <a:pt x="1902137" y="6788609"/>
                  <a:pt x="1700011" y="6855462"/>
                </a:cubicBezTo>
                <a:cubicBezTo>
                  <a:pt x="1503036" y="6891406"/>
                  <a:pt x="1533078" y="6885469"/>
                  <a:pt x="1322212" y="6892452"/>
                </a:cubicBezTo>
                <a:cubicBezTo>
                  <a:pt x="1244954" y="6892452"/>
                  <a:pt x="649533" y="6875099"/>
                  <a:pt x="429664" y="6879332"/>
                </a:cubicBezTo>
                <a:lnTo>
                  <a:pt x="217983" y="6879932"/>
                </a:lnTo>
                <a:lnTo>
                  <a:pt x="0" y="6879932"/>
                </a:lnTo>
                <a:lnTo>
                  <a:pt x="0" y="905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6978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11907988" y="6626304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5E7EE404-23FA-46C5-98C7-A1457D8AA51E}" type="slidenum">
              <a:rPr lang="en-US" sz="1000" smtClean="0">
                <a:solidFill>
                  <a:srgbClr val="000000"/>
                </a:solidFill>
                <a:latin typeface="Calibri"/>
              </a:rPr>
              <a:pPr/>
              <a:t>‹#›</a:t>
            </a:fld>
            <a:endParaRPr lang="en-US" sz="1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" name="Rectangle 286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6477000" y="919295"/>
            <a:ext cx="5257800" cy="1040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432" tIns="27432" rIns="27432" bIns="27432" numCol="1" anchor="t" anchorCtr="0" compatLnSpc="1">
            <a:prstTxWarp prst="textNoShape">
              <a:avLst/>
            </a:prstTxWarp>
            <a:spAutoFit/>
          </a:bodyPr>
          <a:lstStyle>
            <a:lvl3pPr marL="447102" indent="-248921">
              <a:buSzPct val="100000"/>
              <a:buFont typeface="Wingdings" panose="05000000000000000000" pitchFamily="2" charset="2"/>
              <a:buChar char="§"/>
              <a:defRPr/>
            </a:lvl3pPr>
            <a:lvl4pPr marL="608825" indent="-168063">
              <a:buFont typeface="Calibri" panose="020F0502020204030204" pitchFamily="34" charset="0"/>
              <a:buChar char="–"/>
              <a:defRPr/>
            </a:lvl4pPr>
            <a:lvl5pPr marL="778472" indent="-160134">
              <a:buFont typeface="Courier New" panose="02070309020205020404" pitchFamily="49" charset="0"/>
              <a:buChar char="o"/>
              <a:defRPr/>
            </a:lvl5pPr>
          </a:lstStyle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5600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63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 smtClean="0">
              <a:solidFill>
                <a:schemeClr val="tx1"/>
              </a:solidFill>
              <a:latin typeface="Avenir Black" panose="020B0803020203020204"/>
              <a:ea typeface="Arial Unicode MS"/>
              <a:sym typeface="Avenir Black" panose="020B0803020203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F0D3E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6934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411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>
            <a:off x="6096000" y="1152087"/>
            <a:ext cx="0" cy="4553827"/>
          </a:xfrm>
          <a:prstGeom prst="line">
            <a:avLst/>
          </a:prstGeom>
          <a:solidFill>
            <a:schemeClr val="accent1"/>
          </a:solidFill>
          <a:ln w="34925" cap="flat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013926" y="2090393"/>
            <a:ext cx="4068148" cy="2677214"/>
          </a:xfrm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7116149" y="2090393"/>
            <a:ext cx="4061925" cy="267721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Avenir" panose="020B05030202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52415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411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IN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0" y="2342655"/>
            <a:ext cx="12191999" cy="1007371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2293775" y="3597623"/>
            <a:ext cx="7604450" cy="117843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Avenir" panose="020B05030202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76681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C411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ord 1"/>
          <p:cNvSpPr/>
          <p:nvPr userDrawn="1"/>
        </p:nvSpPr>
        <p:spPr>
          <a:xfrm>
            <a:off x="-478972" y="551542"/>
            <a:ext cx="6008915" cy="6008915"/>
          </a:xfrm>
          <a:prstGeom prst="chord">
            <a:avLst>
              <a:gd name="adj1" fmla="val 12736038"/>
              <a:gd name="adj2" fmla="val 882973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37030" y="3052313"/>
            <a:ext cx="4383313" cy="1007371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6008913" y="2966783"/>
            <a:ext cx="5428344" cy="117843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Avenir" panose="020B05030202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0983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6704" y="3081338"/>
            <a:ext cx="4601416" cy="1649282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6703" y="4893226"/>
            <a:ext cx="4601417" cy="1500187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rgbClr val="5C5459"/>
                </a:solidFill>
                <a:latin typeface="Avenir" panose="020B05030202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953125" cy="6858000"/>
          </a:xfrm>
        </p:spPr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495281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691467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14799" y="269333"/>
            <a:ext cx="7687733" cy="55983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518485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06401" y="269333"/>
            <a:ext cx="11379199" cy="55983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874057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15.xml"/><Relationship Id="rId7" Type="http://schemas.openxmlformats.org/officeDocument/2006/relationships/slideLayout" Target="../slideLayouts/slideLayout28.xml"/><Relationship Id="rId12" Type="http://schemas.openxmlformats.org/officeDocument/2006/relationships/vmlDrawing" Target="../drawings/vmlDrawing3.v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29" Type="http://schemas.openxmlformats.org/officeDocument/2006/relationships/tags" Target="../tags/tag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heme" Target="../theme/theme2.xml"/><Relationship Id="rId24" Type="http://schemas.openxmlformats.org/officeDocument/2006/relationships/tags" Target="../tags/tag18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tags" Target="../tags/tag22.xml"/><Relationship Id="rId10" Type="http://schemas.openxmlformats.org/officeDocument/2006/relationships/slideLayout" Target="../slideLayouts/slideLayout31.xml"/><Relationship Id="rId19" Type="http://schemas.openxmlformats.org/officeDocument/2006/relationships/tags" Target="../tags/tag13.xml"/><Relationship Id="rId31" Type="http://schemas.openxmlformats.org/officeDocument/2006/relationships/image" Target="../media/image7.emf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tags" Target="../tags/tag21.xml"/><Relationship Id="rId30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8343" y="269333"/>
            <a:ext cx="10195249" cy="5598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8343" y="1171797"/>
            <a:ext cx="11645381" cy="48419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50524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B69E6D-5847-4A15-9C60-BC9F1502605E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8237" y="230188"/>
            <a:ext cx="1573763" cy="638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78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62" r:id="rId5"/>
    <p:sldLayoutId id="2147483668" r:id="rId6"/>
    <p:sldLayoutId id="2147483651" r:id="rId7"/>
    <p:sldLayoutId id="2147483665" r:id="rId8"/>
    <p:sldLayoutId id="2147483666" r:id="rId9"/>
    <p:sldLayoutId id="2147483654" r:id="rId10"/>
    <p:sldLayoutId id="2147483663" r:id="rId11"/>
    <p:sldLayoutId id="2147483656" r:id="rId12"/>
    <p:sldLayoutId id="2147483671" r:id="rId13"/>
    <p:sldLayoutId id="2147483667" r:id="rId14"/>
    <p:sldLayoutId id="2147483664" r:id="rId15"/>
    <p:sldLayoutId id="2147483675" r:id="rId16"/>
    <p:sldLayoutId id="2147483676" r:id="rId17"/>
    <p:sldLayoutId id="2147483674" r:id="rId18"/>
    <p:sldLayoutId id="2147483677" r:id="rId19"/>
    <p:sldLayoutId id="2147483685" r:id="rId20"/>
    <p:sldLayoutId id="2147483699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C4113C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rgbClr val="5C5459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5C5459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5C5459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5C5459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5C5459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15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00" dirty="0" smtClean="0">
              <a:solidFill>
                <a:srgbClr val="000000"/>
              </a:solidFill>
              <a:latin typeface="Arial" panose="020B0604020202020204" pitchFamily="34" charset="0"/>
              <a:ea typeface="Arial Unicode MS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2924910"/>
            <a:ext cx="5853024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26721" y="376927"/>
            <a:ext cx="991603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426721" y="7143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808080"/>
                </a:solidFill>
                <a:latin typeface="Arial"/>
                <a:ea typeface="ＭＳ Ｐゴシック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426720" y="800786"/>
            <a:ext cx="1133856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ea typeface="ＭＳ Ｐゴシック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426720" y="6217094"/>
            <a:ext cx="11338560" cy="422749"/>
            <a:chOff x="75" y="3901"/>
            <a:chExt cx="5385" cy="261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0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ea typeface="ＭＳ Ｐゴシック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67"/>
              <a:ext cx="5100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6725" indent="-46672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474663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ea typeface="ＭＳ Ｐゴシック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2331912"/>
            <a:ext cx="5853024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latin typeface="Arial"/>
                  <a:ea typeface="ＭＳ Ｐゴシック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latin typeface="Arial"/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10945933" y="820312"/>
            <a:ext cx="848784" cy="996951"/>
            <a:chOff x="4936" y="176"/>
            <a:chExt cx="401" cy="628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E2241F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E2241F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E2241F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E2241F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10535299" y="820312"/>
            <a:ext cx="1259418" cy="730251"/>
            <a:chOff x="4750" y="176"/>
            <a:chExt cx="595" cy="460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E2241F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E2241F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E2241F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10897157" y="820311"/>
            <a:ext cx="1066894" cy="212366"/>
            <a:chOff x="7940605" y="285750"/>
            <a:chExt cx="800170" cy="212366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940605" y="285750"/>
              <a:ext cx="800170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E2241F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  <a:ea typeface="ＭＳ Ｐゴシック"/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94060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940605" y="498116"/>
              <a:ext cx="8001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10856802" y="820311"/>
            <a:ext cx="937321" cy="1306516"/>
            <a:chOff x="6655594" y="273840"/>
            <a:chExt cx="702991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64" name="Arc 39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E2241F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E2241F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E2241F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E2241F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E2241F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</p:grpSp>
      </p:grpSp>
      <p:sp>
        <p:nvSpPr>
          <p:cNvPr id="66" name="Slide Number"/>
          <p:cNvSpPr txBox="1">
            <a:spLocks/>
          </p:cNvSpPr>
          <p:nvPr/>
        </p:nvSpPr>
        <p:spPr>
          <a:xfrm>
            <a:off x="11608186" y="648595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898989"/>
                </a:solidFill>
                <a:latin typeface="Arial"/>
                <a:ea typeface="ＭＳ Ｐゴシック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898989"/>
              </a:solidFill>
              <a:latin typeface="Arial"/>
              <a:ea typeface="ＭＳ Ｐゴシック"/>
            </a:endParaRPr>
          </a:p>
        </p:txBody>
      </p:sp>
      <p:pic>
        <p:nvPicPr>
          <p:cNvPr id="67" name="Picture 66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277" y="3589"/>
            <a:ext cx="1545902" cy="638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827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</p:sldLayoutIdLst>
  <p:timing>
    <p:tnLst>
      <p:par>
        <p:cTn id="1" dur="indefinite" restart="never" nodeType="tmRoot"/>
      </p:par>
    </p:tnLst>
  </p:timing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00" b="0" baseline="0">
          <a:solidFill>
            <a:srgbClr val="BF0D3E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47675" indent="-24923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09600" indent="-16827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79463" indent="-16033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5.emf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498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2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4113C"/>
          </a:solidFill>
          <a:ln w="9525" cap="rnd" cmpd="sng" algn="ctr">
            <a:solidFill>
              <a:srgbClr val="C4113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 smtClean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AEDF80-EBC4-4CEA-A2E4-B3FAC1DB6783}"/>
              </a:ext>
            </a:extLst>
          </p:cNvPr>
          <p:cNvSpPr>
            <a:spLocks/>
          </p:cNvSpPr>
          <p:nvPr/>
        </p:nvSpPr>
        <p:spPr>
          <a:xfrm>
            <a:off x="5601375" y="935786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Ahmet Hepdogan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rocurement, VP</a:t>
            </a:r>
          </a:p>
        </p:txBody>
      </p:sp>
      <p:cxnSp>
        <p:nvCxnSpPr>
          <p:cNvPr id="5" name="Elbow Connector 4"/>
          <p:cNvCxnSpPr>
            <a:stCxn id="15" idx="2"/>
            <a:endCxn id="105" idx="0"/>
          </p:cNvCxnSpPr>
          <p:nvPr/>
        </p:nvCxnSpPr>
        <p:spPr>
          <a:xfrm rot="5400000">
            <a:off x="5754566" y="1008519"/>
            <a:ext cx="185193" cy="949271"/>
          </a:xfrm>
          <a:prstGeom prst="bentConnector3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Elbow Connector 92"/>
          <p:cNvCxnSpPr>
            <a:stCxn id="15" idx="2"/>
            <a:endCxn id="49" idx="0"/>
          </p:cNvCxnSpPr>
          <p:nvPr/>
        </p:nvCxnSpPr>
        <p:spPr>
          <a:xfrm rot="16200000" flipH="1">
            <a:off x="7719001" y="-6646"/>
            <a:ext cx="185193" cy="2979600"/>
          </a:xfrm>
          <a:prstGeom prst="bentConnector3">
            <a:avLst>
              <a:gd name="adj1" fmla="val 50000"/>
            </a:avLst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Elbow Connector 93"/>
          <p:cNvCxnSpPr>
            <a:stCxn id="15" idx="2"/>
            <a:endCxn id="81" idx="0"/>
          </p:cNvCxnSpPr>
          <p:nvPr/>
        </p:nvCxnSpPr>
        <p:spPr>
          <a:xfrm rot="5400000">
            <a:off x="3685625" y="-1060422"/>
            <a:ext cx="185193" cy="5087153"/>
          </a:xfrm>
          <a:prstGeom prst="bentConnector3">
            <a:avLst>
              <a:gd name="adj1" fmla="val 50000"/>
            </a:avLst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Elbow Connector 95"/>
          <p:cNvCxnSpPr>
            <a:stCxn id="15" idx="2"/>
            <a:endCxn id="101" idx="0"/>
          </p:cNvCxnSpPr>
          <p:nvPr/>
        </p:nvCxnSpPr>
        <p:spPr>
          <a:xfrm rot="5400000">
            <a:off x="4715486" y="-30561"/>
            <a:ext cx="185193" cy="3027430"/>
          </a:xfrm>
          <a:prstGeom prst="bentConnector3">
            <a:avLst>
              <a:gd name="adj1" fmla="val 50000"/>
            </a:avLst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384A57FE-230B-4239-8DD9-6CFD411ED7A9}"/>
              </a:ext>
            </a:extLst>
          </p:cNvPr>
          <p:cNvSpPr>
            <a:spLocks/>
          </p:cNvSpPr>
          <p:nvPr/>
        </p:nvSpPr>
        <p:spPr>
          <a:xfrm>
            <a:off x="425159" y="1575751"/>
            <a:ext cx="1618970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Desmond </a:t>
            </a: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Fernando</a:t>
            </a:r>
            <a:endParaRPr lang="en-US" sz="9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Vice President, </a:t>
            </a: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rocurement - </a:t>
            </a: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Ingredients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2BDF1925-73DE-4C0A-B258-846515AC748A}"/>
              </a:ext>
            </a:extLst>
          </p:cNvPr>
          <p:cNvSpPr>
            <a:spLocks/>
          </p:cNvSpPr>
          <p:nvPr/>
        </p:nvSpPr>
        <p:spPr>
          <a:xfrm>
            <a:off x="2494489" y="1575751"/>
            <a:ext cx="1599756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Julia Mukhina</a:t>
            </a:r>
            <a:endParaRPr lang="en-US" sz="9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spc="-2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r. Director, Procurement </a:t>
            </a:r>
            <a:r>
              <a:rPr lang="en-US" sz="900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Co-Mfg. &amp; Novelty</a:t>
            </a:r>
            <a:endParaRPr lang="en-US" sz="900" spc="-2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28AAC4D-7623-486A-951D-154F3B54817D}"/>
              </a:ext>
            </a:extLst>
          </p:cNvPr>
          <p:cNvSpPr>
            <a:spLocks/>
          </p:cNvSpPr>
          <p:nvPr/>
        </p:nvSpPr>
        <p:spPr>
          <a:xfrm>
            <a:off x="10461596" y="1575751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>
            <a:solidFill>
              <a:srgbClr val="8A8A8D"/>
            </a:solidFill>
            <a:miter lim="800000"/>
            <a:headEnd/>
            <a:tailEnd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Erik Connelly</a:t>
            </a:r>
            <a:endParaRPr lang="en-US" sz="9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anager, Ethical Sourcing (C.S.R.)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BC49BCD-6931-4A1C-A2F2-F087898426E5}"/>
              </a:ext>
            </a:extLst>
          </p:cNvPr>
          <p:cNvSpPr>
            <a:spLocks/>
          </p:cNvSpPr>
          <p:nvPr/>
        </p:nvSpPr>
        <p:spPr>
          <a:xfrm>
            <a:off x="8501127" y="1575751"/>
            <a:ext cx="1600540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>
            <a:solidFill>
              <a:srgbClr val="8A8A8D"/>
            </a:solidFill>
            <a:miter lim="800000"/>
            <a:headEnd/>
            <a:tailEnd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Jackie Thomas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Director</a:t>
            </a: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, Procurement Analytics (</a:t>
            </a: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C.O.E.)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131" name="Elbow Connector 130"/>
          <p:cNvCxnSpPr>
            <a:stCxn id="15" idx="2"/>
            <a:endCxn id="38" idx="0"/>
          </p:cNvCxnSpPr>
          <p:nvPr/>
        </p:nvCxnSpPr>
        <p:spPr>
          <a:xfrm rot="16200000" flipH="1">
            <a:off x="6724138" y="988217"/>
            <a:ext cx="185193" cy="989874"/>
          </a:xfrm>
          <a:prstGeom prst="bentConnector3">
            <a:avLst>
              <a:gd name="adj1" fmla="val 50000"/>
            </a:avLst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Elbow Connector 131"/>
          <p:cNvCxnSpPr>
            <a:stCxn id="15" idx="2"/>
            <a:endCxn id="45" idx="0"/>
          </p:cNvCxnSpPr>
          <p:nvPr/>
        </p:nvCxnSpPr>
        <p:spPr>
          <a:xfrm rot="16200000" flipH="1">
            <a:off x="8659311" y="-946957"/>
            <a:ext cx="185193" cy="4860221"/>
          </a:xfrm>
          <a:prstGeom prst="bentConnector3">
            <a:avLst>
              <a:gd name="adj1" fmla="val 50000"/>
            </a:avLst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7678B398-15A7-46BB-A4A8-2C2C65C29236}"/>
              </a:ext>
            </a:extLst>
          </p:cNvPr>
          <p:cNvSpPr>
            <a:spLocks/>
          </p:cNvSpPr>
          <p:nvPr/>
        </p:nvSpPr>
        <p:spPr>
          <a:xfrm>
            <a:off x="603285" y="4211186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Anita Maniurka </a:t>
            </a:r>
            <a:endParaRPr lang="en-US" sz="900" b="1" dirty="0" smtClean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anager, Procurement – Ingredients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A78D0F99-92E3-49EA-A9EE-50DAF1039495}"/>
              </a:ext>
            </a:extLst>
          </p:cNvPr>
          <p:cNvSpPr>
            <a:spLocks/>
          </p:cNvSpPr>
          <p:nvPr/>
        </p:nvSpPr>
        <p:spPr>
          <a:xfrm>
            <a:off x="509252" y="3684099"/>
            <a:ext cx="1534876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Rafael Marrero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Director, Proc. – Ingredients, N. A.</a:t>
            </a:r>
            <a:endParaRPr lang="en-US" sz="900" spc="-2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4FB2519F-36F1-42DB-8610-58A49D6C8387}"/>
              </a:ext>
            </a:extLst>
          </p:cNvPr>
          <p:cNvSpPr>
            <a:spLocks/>
          </p:cNvSpPr>
          <p:nvPr/>
        </p:nvSpPr>
        <p:spPr>
          <a:xfrm>
            <a:off x="509251" y="2102838"/>
            <a:ext cx="1534877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Kristy Eidson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Director, Procurement </a:t>
            </a: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– Sweeteners, N. A.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78D0F99-92E3-49EA-A9EE-50DAF1039495}"/>
              </a:ext>
            </a:extLst>
          </p:cNvPr>
          <p:cNvSpPr>
            <a:spLocks/>
          </p:cNvSpPr>
          <p:nvPr/>
        </p:nvSpPr>
        <p:spPr>
          <a:xfrm>
            <a:off x="509252" y="5265360"/>
            <a:ext cx="1534876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Andrew Haller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r. Manager, Procurement – Flour </a:t>
            </a:r>
            <a:endParaRPr lang="en-US" sz="900" spc="-2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A78D0F99-92E3-49EA-A9EE-50DAF1039495}"/>
              </a:ext>
            </a:extLst>
          </p:cNvPr>
          <p:cNvSpPr>
            <a:spLocks/>
          </p:cNvSpPr>
          <p:nvPr/>
        </p:nvSpPr>
        <p:spPr>
          <a:xfrm>
            <a:off x="603285" y="4738273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ley </a:t>
            </a: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anum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anager, Procurement – Ingredients (S.E.I.)</a:t>
            </a:r>
            <a:endParaRPr lang="en-US" sz="900" spc="-2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97" name="Elbow Connector 96"/>
          <p:cNvCxnSpPr>
            <a:endCxn id="80" idx="1"/>
          </p:cNvCxnSpPr>
          <p:nvPr/>
        </p:nvCxnSpPr>
        <p:spPr>
          <a:xfrm rot="16200000" flipH="1">
            <a:off x="317897" y="2138870"/>
            <a:ext cx="296290" cy="86418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Elbow Connector 102"/>
          <p:cNvCxnSpPr/>
          <p:nvPr/>
        </p:nvCxnSpPr>
        <p:spPr>
          <a:xfrm rot="16200000" flipH="1">
            <a:off x="417612" y="2649247"/>
            <a:ext cx="299703" cy="116423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Elbow Connector 103"/>
          <p:cNvCxnSpPr/>
          <p:nvPr/>
        </p:nvCxnSpPr>
        <p:spPr>
          <a:xfrm rot="16200000" flipH="1">
            <a:off x="156252" y="2910610"/>
            <a:ext cx="826788" cy="120788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Elbow Connector 105"/>
          <p:cNvCxnSpPr>
            <a:endCxn id="79" idx="1"/>
          </p:cNvCxnSpPr>
          <p:nvPr/>
        </p:nvCxnSpPr>
        <p:spPr>
          <a:xfrm rot="16200000" flipH="1">
            <a:off x="-475664" y="2926569"/>
            <a:ext cx="1885736" cy="84096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Elbow Connector 106"/>
          <p:cNvCxnSpPr>
            <a:endCxn id="83" idx="1"/>
          </p:cNvCxnSpPr>
          <p:nvPr/>
        </p:nvCxnSpPr>
        <p:spPr>
          <a:xfrm rot="16200000" flipH="1">
            <a:off x="-1266294" y="3717200"/>
            <a:ext cx="3466996" cy="84096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Elbow Connector 107"/>
          <p:cNvCxnSpPr/>
          <p:nvPr/>
        </p:nvCxnSpPr>
        <p:spPr>
          <a:xfrm rot="16200000" flipH="1">
            <a:off x="407435" y="4240685"/>
            <a:ext cx="299704" cy="96069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08"/>
          <p:cNvCxnSpPr/>
          <p:nvPr/>
        </p:nvCxnSpPr>
        <p:spPr>
          <a:xfrm rot="16200000" flipH="1">
            <a:off x="146569" y="4501553"/>
            <a:ext cx="826789" cy="101421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85574E1B-55B9-40BC-AAA7-45D30C76656A}"/>
              </a:ext>
            </a:extLst>
          </p:cNvPr>
          <p:cNvSpPr>
            <a:spLocks/>
          </p:cNvSpPr>
          <p:nvPr/>
        </p:nvSpPr>
        <p:spPr>
          <a:xfrm>
            <a:off x="8601447" y="2102838"/>
            <a:ext cx="1500220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Barry Payne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r</a:t>
            </a: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. </a:t>
            </a: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anager</a:t>
            </a: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, </a:t>
            </a: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roc. Analytics, Report. &amp; S.R.M.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A78D0F99-92E3-49EA-A9EE-50DAF1039495}"/>
              </a:ext>
            </a:extLst>
          </p:cNvPr>
          <p:cNvSpPr>
            <a:spLocks/>
          </p:cNvSpPr>
          <p:nvPr/>
        </p:nvSpPr>
        <p:spPr>
          <a:xfrm>
            <a:off x="8660823" y="4714501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ichael Pattullo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pecialist, Procurement Operations (Analyst)</a:t>
            </a:r>
          </a:p>
        </p:txBody>
      </p:sp>
      <p:cxnSp>
        <p:nvCxnSpPr>
          <p:cNvPr id="136" name="Elbow Connector 135"/>
          <p:cNvCxnSpPr/>
          <p:nvPr/>
        </p:nvCxnSpPr>
        <p:spPr>
          <a:xfrm rot="16200000" flipH="1">
            <a:off x="6792144" y="3727689"/>
            <a:ext cx="3507521" cy="89552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Elbow Connector 137"/>
          <p:cNvCxnSpPr>
            <a:endCxn id="59" idx="1"/>
          </p:cNvCxnSpPr>
          <p:nvPr/>
        </p:nvCxnSpPr>
        <p:spPr>
          <a:xfrm rot="16200000" flipH="1">
            <a:off x="7506194" y="3283943"/>
            <a:ext cx="2247846" cy="61411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Elbow Connector 139"/>
          <p:cNvCxnSpPr/>
          <p:nvPr/>
        </p:nvCxnSpPr>
        <p:spPr>
          <a:xfrm rot="16200000" flipH="1">
            <a:off x="8389616" y="2135855"/>
            <a:ext cx="305880" cy="82857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A78D0F99-92E3-49EA-A9EE-50DAF1039495}"/>
              </a:ext>
            </a:extLst>
          </p:cNvPr>
          <p:cNvSpPr>
            <a:spLocks/>
          </p:cNvSpPr>
          <p:nvPr/>
        </p:nvSpPr>
        <p:spPr>
          <a:xfrm>
            <a:off x="8660823" y="2629925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Craig Tsukuno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r. Analyst</a:t>
            </a: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, </a:t>
            </a: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rocurement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CE7571B-2C9F-49C1-9216-6CDC1CE84DBC}"/>
              </a:ext>
            </a:extLst>
          </p:cNvPr>
          <p:cNvSpPr>
            <a:spLocks/>
          </p:cNvSpPr>
          <p:nvPr/>
        </p:nvSpPr>
        <p:spPr>
          <a:xfrm>
            <a:off x="8660823" y="3157012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27432" rIns="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Edwin Rodriguez</a:t>
            </a:r>
            <a:endParaRPr lang="en-US" sz="9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r. Analyst</a:t>
            </a: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, Procurement </a:t>
            </a: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 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ED639E9-2FCB-4601-AFFF-FD9F38DE95C1}"/>
              </a:ext>
            </a:extLst>
          </p:cNvPr>
          <p:cNvSpPr>
            <a:spLocks/>
          </p:cNvSpPr>
          <p:nvPr/>
        </p:nvSpPr>
        <p:spPr>
          <a:xfrm>
            <a:off x="8660823" y="3684099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ichael Raso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Analyst, Procurement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78D0F99-92E3-49EA-A9EE-50DAF1039495}"/>
              </a:ext>
            </a:extLst>
          </p:cNvPr>
          <p:cNvSpPr>
            <a:spLocks/>
          </p:cNvSpPr>
          <p:nvPr/>
        </p:nvSpPr>
        <p:spPr>
          <a:xfrm>
            <a:off x="8660823" y="4211186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spc="-2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Kassandra </a:t>
            </a:r>
            <a:r>
              <a:rPr lang="en-US" sz="900" b="1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Bernardo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Analyst, Procurement </a:t>
            </a:r>
          </a:p>
        </p:txBody>
      </p:sp>
      <p:cxnSp>
        <p:nvCxnSpPr>
          <p:cNvPr id="142" name="Elbow Connector 141"/>
          <p:cNvCxnSpPr>
            <a:endCxn id="57" idx="1"/>
          </p:cNvCxnSpPr>
          <p:nvPr/>
        </p:nvCxnSpPr>
        <p:spPr>
          <a:xfrm rot="16200000" flipH="1">
            <a:off x="8481285" y="2677772"/>
            <a:ext cx="299701" cy="59375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Elbow Connector 143"/>
          <p:cNvCxnSpPr>
            <a:endCxn id="50" idx="1"/>
          </p:cNvCxnSpPr>
          <p:nvPr/>
        </p:nvCxnSpPr>
        <p:spPr>
          <a:xfrm rot="16200000" flipH="1">
            <a:off x="8217741" y="2941316"/>
            <a:ext cx="826788" cy="59375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Elbow Connector 145"/>
          <p:cNvCxnSpPr>
            <a:endCxn id="66" idx="1"/>
          </p:cNvCxnSpPr>
          <p:nvPr/>
        </p:nvCxnSpPr>
        <p:spPr>
          <a:xfrm rot="16200000" flipH="1">
            <a:off x="7954198" y="3204859"/>
            <a:ext cx="1353875" cy="59375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Elbow Connector 147"/>
          <p:cNvCxnSpPr/>
          <p:nvPr/>
        </p:nvCxnSpPr>
        <p:spPr>
          <a:xfrm rot="16200000" flipH="1">
            <a:off x="7447727" y="3715094"/>
            <a:ext cx="2384277" cy="59376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09">
            <a:extLst>
              <a:ext uri="{FF2B5EF4-FFF2-40B4-BE49-F238E27FC236}">
                <a16:creationId xmlns:a16="http://schemas.microsoft.com/office/drawing/2014/main" id="{A78D0F99-92E3-49EA-A9EE-50DAF1039495}"/>
              </a:ext>
            </a:extLst>
          </p:cNvPr>
          <p:cNvSpPr>
            <a:spLocks/>
          </p:cNvSpPr>
          <p:nvPr/>
        </p:nvSpPr>
        <p:spPr>
          <a:xfrm>
            <a:off x="8601447" y="5298840"/>
            <a:ext cx="1500220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>
            <a:solidFill>
              <a:srgbClr val="8A8A8D"/>
            </a:solidFill>
            <a:miter lim="800000"/>
            <a:headEnd/>
            <a:tailEnd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Daniel </a:t>
            </a: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ark</a:t>
            </a:r>
            <a:endParaRPr lang="en-US" sz="900" spc="-20" dirty="0" smtClean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r. Manager, Commodity Risk Managem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334" y="74497"/>
            <a:ext cx="11052432" cy="588840"/>
          </a:xfrm>
        </p:spPr>
        <p:txBody>
          <a:bodyPr/>
          <a:lstStyle/>
          <a:p>
            <a:r>
              <a:rPr lang="en-US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rPr>
              <a:t>Operations – Procurement Organization as of 1/22/2020</a:t>
            </a:r>
            <a:endParaRPr lang="en-US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  <a:sym typeface="+mj-lt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714119E-C36C-46D6-815C-593F8308F413}"/>
              </a:ext>
            </a:extLst>
          </p:cNvPr>
          <p:cNvSpPr>
            <a:spLocks/>
          </p:cNvSpPr>
          <p:nvPr/>
        </p:nvSpPr>
        <p:spPr>
          <a:xfrm>
            <a:off x="2653401" y="4217163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>
            <a:solidFill>
              <a:srgbClr val="8A8A8D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27432" rIns="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aria Velazquez</a:t>
            </a:r>
            <a:endParaRPr lang="en-US" sz="9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anager, Procurement – Co-Pack &amp; Novelty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C9E11CB0-39F1-4BA9-B2A6-6C942D0D0BB1}"/>
              </a:ext>
            </a:extLst>
          </p:cNvPr>
          <p:cNvSpPr>
            <a:spLocks/>
          </p:cNvSpPr>
          <p:nvPr/>
        </p:nvSpPr>
        <p:spPr>
          <a:xfrm>
            <a:off x="2584841" y="2102838"/>
            <a:ext cx="150940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Lora Barney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r. Manager</a:t>
            </a: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, </a:t>
            </a: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rocurement - Co-Manufacturing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78D0F99-92E3-49EA-A9EE-50DAF1039495}"/>
              </a:ext>
            </a:extLst>
          </p:cNvPr>
          <p:cNvSpPr>
            <a:spLocks/>
          </p:cNvSpPr>
          <p:nvPr/>
        </p:nvSpPr>
        <p:spPr>
          <a:xfrm>
            <a:off x="2653401" y="2629925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Kate Lucenti 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pecialist – 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Co-Manufacturing (S.E.I.)</a:t>
            </a:r>
            <a:endParaRPr lang="en-US" sz="900" spc="-2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65FB454-E235-4780-9323-B550B127F379}"/>
              </a:ext>
            </a:extLst>
          </p:cNvPr>
          <p:cNvSpPr>
            <a:spLocks/>
          </p:cNvSpPr>
          <p:nvPr/>
        </p:nvSpPr>
        <p:spPr>
          <a:xfrm>
            <a:off x="2584841" y="3684099"/>
            <a:ext cx="150940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OPEN</a:t>
            </a:r>
            <a:endParaRPr lang="en-US" sz="9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r. </a:t>
            </a: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anager,</a:t>
            </a: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 </a:t>
            </a: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rocurement – Co-Pack &amp; Novelty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EBE47C8-E65C-4ADD-A611-A708878DF0A9}"/>
              </a:ext>
            </a:extLst>
          </p:cNvPr>
          <p:cNvSpPr>
            <a:spLocks/>
          </p:cNvSpPr>
          <p:nvPr/>
        </p:nvSpPr>
        <p:spPr>
          <a:xfrm>
            <a:off x="2666617" y="3145197"/>
            <a:ext cx="1427628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27432" rIns="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 Daniela Turley</a:t>
            </a:r>
            <a:endParaRPr lang="en-US" sz="9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anager, Procurement - 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Co-Manufacturing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111" name="Elbow Connector 110"/>
          <p:cNvCxnSpPr/>
          <p:nvPr/>
        </p:nvCxnSpPr>
        <p:spPr>
          <a:xfrm rot="16200000" flipH="1">
            <a:off x="1605013" y="2931657"/>
            <a:ext cx="1869304" cy="90351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Elbow Connector 111"/>
          <p:cNvCxnSpPr/>
          <p:nvPr/>
        </p:nvCxnSpPr>
        <p:spPr>
          <a:xfrm rot="16200000" flipH="1">
            <a:off x="2381444" y="2131751"/>
            <a:ext cx="311517" cy="85427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Elbow Connector 113"/>
          <p:cNvCxnSpPr>
            <a:endCxn id="92" idx="1"/>
          </p:cNvCxnSpPr>
          <p:nvPr/>
        </p:nvCxnSpPr>
        <p:spPr>
          <a:xfrm rot="16200000" flipH="1">
            <a:off x="2469270" y="2673180"/>
            <a:ext cx="299702" cy="68560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Elbow Connector 114"/>
          <p:cNvCxnSpPr/>
          <p:nvPr/>
        </p:nvCxnSpPr>
        <p:spPr>
          <a:xfrm rot="16200000" flipH="1">
            <a:off x="2466281" y="4257430"/>
            <a:ext cx="305679" cy="68558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Elbow Connector 115"/>
          <p:cNvCxnSpPr/>
          <p:nvPr/>
        </p:nvCxnSpPr>
        <p:spPr>
          <a:xfrm rot="16200000" flipH="1">
            <a:off x="2466281" y="4257429"/>
            <a:ext cx="305680" cy="68559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ctangle 126">
            <a:extLst>
              <a:ext uri="{FF2B5EF4-FFF2-40B4-BE49-F238E27FC236}">
                <a16:creationId xmlns:a16="http://schemas.microsoft.com/office/drawing/2014/main" id="{E714119E-C36C-46D6-815C-593F8308F413}"/>
              </a:ext>
            </a:extLst>
          </p:cNvPr>
          <p:cNvSpPr>
            <a:spLocks/>
          </p:cNvSpPr>
          <p:nvPr/>
        </p:nvSpPr>
        <p:spPr>
          <a:xfrm>
            <a:off x="2653401" y="4756064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>
            <a:solidFill>
              <a:srgbClr val="8A8A8D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27432" rIns="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onna Guan</a:t>
            </a:r>
            <a:endParaRPr lang="en-US" sz="900" b="1" dirty="0">
              <a:solidFill>
                <a:schemeClr val="bg2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Specialist, Procurement – Co-Pack &amp; Novelty</a:t>
            </a:r>
          </a:p>
        </p:txBody>
      </p:sp>
      <p:cxnSp>
        <p:nvCxnSpPr>
          <p:cNvPr id="129" name="Elbow Connector 128"/>
          <p:cNvCxnSpPr/>
          <p:nvPr/>
        </p:nvCxnSpPr>
        <p:spPr>
          <a:xfrm rot="16200000" flipH="1">
            <a:off x="2196830" y="4526879"/>
            <a:ext cx="844582" cy="68560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 104">
            <a:extLst>
              <a:ext uri="{FF2B5EF4-FFF2-40B4-BE49-F238E27FC236}">
                <a16:creationId xmlns:a16="http://schemas.microsoft.com/office/drawing/2014/main" id="{384A57FE-230B-4239-8DD9-6CFD411ED7A9}"/>
              </a:ext>
            </a:extLst>
          </p:cNvPr>
          <p:cNvSpPr>
            <a:spLocks/>
          </p:cNvSpPr>
          <p:nvPr/>
        </p:nvSpPr>
        <p:spPr>
          <a:xfrm>
            <a:off x="4579479" y="1575751"/>
            <a:ext cx="158609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27432" rIns="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Caroline Stankovich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r. Director, </a:t>
            </a:r>
            <a:endParaRPr lang="en-US" sz="900" dirty="0" smtClean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rocurement </a:t>
            </a: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- </a:t>
            </a: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ackaging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D62A0AB-ECAC-4131-A067-C438843E473B}"/>
              </a:ext>
            </a:extLst>
          </p:cNvPr>
          <p:cNvSpPr>
            <a:spLocks/>
          </p:cNvSpPr>
          <p:nvPr/>
        </p:nvSpPr>
        <p:spPr>
          <a:xfrm>
            <a:off x="4652102" y="3157012"/>
            <a:ext cx="1523097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ayda Sanchez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anager, </a:t>
            </a: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rocurement </a:t>
            </a: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- Packaging (Seasonal</a:t>
            </a: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)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DA16795-273B-478D-A4D3-F12380016005}"/>
              </a:ext>
            </a:extLst>
          </p:cNvPr>
          <p:cNvSpPr>
            <a:spLocks/>
          </p:cNvSpPr>
          <p:nvPr/>
        </p:nvSpPr>
        <p:spPr>
          <a:xfrm>
            <a:off x="4652103" y="4211186"/>
            <a:ext cx="1523096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>
            <a:solidFill>
              <a:srgbClr val="8A8A8D"/>
            </a:solidFill>
            <a:miter lim="800000"/>
            <a:headEnd/>
            <a:tailEnd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Lew Leslie-Hall</a:t>
            </a:r>
            <a:endParaRPr lang="en-US" sz="9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spc="-2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r. Manager, Procurement Packaging (Resin</a:t>
            </a:r>
            <a:r>
              <a:rPr lang="en-US" sz="900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)</a:t>
            </a:r>
            <a:endParaRPr lang="en-US" sz="900" spc="-2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DA16795-273B-478D-A4D3-F12380016005}"/>
              </a:ext>
            </a:extLst>
          </p:cNvPr>
          <p:cNvSpPr>
            <a:spLocks/>
          </p:cNvSpPr>
          <p:nvPr/>
        </p:nvSpPr>
        <p:spPr>
          <a:xfrm>
            <a:off x="4652103" y="3684099"/>
            <a:ext cx="1523096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elissa Velazquez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Coordinator, 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rocurement - Packaging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6D552BE5-66D3-46E4-8CDD-7466A0AF68BE}"/>
              </a:ext>
            </a:extLst>
          </p:cNvPr>
          <p:cNvSpPr>
            <a:spLocks/>
          </p:cNvSpPr>
          <p:nvPr/>
        </p:nvSpPr>
        <p:spPr>
          <a:xfrm>
            <a:off x="4652103" y="2102838"/>
            <a:ext cx="1513470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27432" rIns="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ichelle Pursel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Director, Procurement – Packaging (Paper)</a:t>
            </a:r>
          </a:p>
        </p:txBody>
      </p:sp>
      <p:cxnSp>
        <p:nvCxnSpPr>
          <p:cNvPr id="121" name="Elbow Connector 120"/>
          <p:cNvCxnSpPr>
            <a:endCxn id="62" idx="1"/>
          </p:cNvCxnSpPr>
          <p:nvPr/>
        </p:nvCxnSpPr>
        <p:spPr>
          <a:xfrm rot="16200000" flipH="1">
            <a:off x="3935764" y="2668060"/>
            <a:ext cx="1360054" cy="72622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/>
          <p:cNvGrpSpPr/>
          <p:nvPr/>
        </p:nvGrpSpPr>
        <p:grpSpPr>
          <a:xfrm>
            <a:off x="4652103" y="2563781"/>
            <a:ext cx="1513470" cy="520916"/>
            <a:chOff x="4698227" y="2563781"/>
            <a:chExt cx="1513470" cy="520916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7DA16795-273B-478D-A4D3-F12380016005}"/>
                </a:ext>
              </a:extLst>
            </p:cNvPr>
            <p:cNvSpPr>
              <a:spLocks/>
            </p:cNvSpPr>
            <p:nvPr/>
          </p:nvSpPr>
          <p:spPr>
            <a:xfrm>
              <a:off x="4770853" y="2629925"/>
              <a:ext cx="1440844" cy="454772"/>
            </a:xfrm>
            <a:prstGeom prst="rect">
              <a:avLst/>
            </a:prstGeom>
            <a:grpFill/>
            <a:ln w="12700" cap="flat" cmpd="sng" algn="ctr">
              <a:solidFill>
                <a:srgbClr val="8A8A8D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45720" tIns="27432" rIns="45720" bIns="27432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3526">
                <a:buClr>
                  <a:schemeClr val="bg1"/>
                </a:buClr>
              </a:pPr>
              <a:r>
                <a:rPr lang="en-US" sz="9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Ernesto Enriquez</a:t>
              </a:r>
            </a:p>
            <a:p>
              <a:pPr algn="ctr" defTabSz="913526">
                <a:buClr>
                  <a:schemeClr val="bg1"/>
                </a:buClr>
              </a:pPr>
              <a:r>
                <a:rPr lang="en-US" sz="900" spc="-2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Sr. </a:t>
              </a:r>
              <a:r>
                <a:rPr lang="en-US" sz="900" spc="-20" dirty="0" smtClean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Manager, Procurement </a:t>
              </a:r>
              <a:r>
                <a:rPr lang="en-US" sz="900" spc="-2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Packaging (Paper)</a:t>
              </a:r>
            </a:p>
          </p:txBody>
        </p:sp>
        <p:cxnSp>
          <p:nvCxnSpPr>
            <p:cNvPr id="122" name="Elbow Connector 121"/>
            <p:cNvCxnSpPr>
              <a:endCxn id="63" idx="1"/>
            </p:cNvCxnSpPr>
            <p:nvPr/>
          </p:nvCxnSpPr>
          <p:spPr>
            <a:xfrm rot="16200000" flipH="1">
              <a:off x="4587775" y="2674233"/>
              <a:ext cx="293530" cy="72625"/>
            </a:xfrm>
            <a:prstGeom prst="bentConnector2">
              <a:avLst/>
            </a:prstGeom>
            <a:grpFill/>
            <a:ln w="12700" cap="rnd">
              <a:solidFill>
                <a:srgbClr val="8A8A8D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4" name="Elbow Connector 123"/>
          <p:cNvCxnSpPr>
            <a:endCxn id="67" idx="1"/>
          </p:cNvCxnSpPr>
          <p:nvPr/>
        </p:nvCxnSpPr>
        <p:spPr>
          <a:xfrm rot="16200000" flipH="1">
            <a:off x="4202398" y="3988867"/>
            <a:ext cx="826788" cy="72622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Elbow Connector 125"/>
          <p:cNvCxnSpPr>
            <a:endCxn id="68" idx="1"/>
          </p:cNvCxnSpPr>
          <p:nvPr/>
        </p:nvCxnSpPr>
        <p:spPr>
          <a:xfrm rot="16200000" flipH="1">
            <a:off x="4310245" y="3569627"/>
            <a:ext cx="611092" cy="72624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A78D0F99-92E3-49EA-A9EE-50DAF1039495}"/>
              </a:ext>
            </a:extLst>
          </p:cNvPr>
          <p:cNvSpPr>
            <a:spLocks/>
          </p:cNvSpPr>
          <p:nvPr/>
        </p:nvSpPr>
        <p:spPr>
          <a:xfrm>
            <a:off x="4635995" y="4726582"/>
            <a:ext cx="1529578" cy="644487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Amy Johnson 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anager, Procurement – Packaging (Rigid Resin &amp; Metals) N.A. (S.E.I.)</a:t>
            </a:r>
          </a:p>
        </p:txBody>
      </p:sp>
      <p:cxnSp>
        <p:nvCxnSpPr>
          <p:cNvPr id="130" name="Elbow Connector 129"/>
          <p:cNvCxnSpPr>
            <a:endCxn id="56" idx="1"/>
          </p:cNvCxnSpPr>
          <p:nvPr/>
        </p:nvCxnSpPr>
        <p:spPr>
          <a:xfrm rot="16200000" flipH="1">
            <a:off x="4260146" y="4672977"/>
            <a:ext cx="695180" cy="56518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Elbow Connector 163"/>
          <p:cNvCxnSpPr>
            <a:endCxn id="77" idx="1"/>
          </p:cNvCxnSpPr>
          <p:nvPr/>
        </p:nvCxnSpPr>
        <p:spPr>
          <a:xfrm rot="16200000" flipH="1">
            <a:off x="4460031" y="2138152"/>
            <a:ext cx="311520" cy="72624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384A57FE-230B-4239-8DD9-6CFD411ED7A9}"/>
              </a:ext>
            </a:extLst>
          </p:cNvPr>
          <p:cNvSpPr>
            <a:spLocks/>
          </p:cNvSpPr>
          <p:nvPr/>
        </p:nvSpPr>
        <p:spPr>
          <a:xfrm>
            <a:off x="6540303" y="1575751"/>
            <a:ext cx="1542736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27432" rIns="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OPEN</a:t>
            </a:r>
            <a:endParaRPr lang="en-US" sz="9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Director, Procurement- Indirect, B.P.O., M&amp;A Integr.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DE8A178-8F78-44B9-83E5-54D2F38F0F50}"/>
              </a:ext>
            </a:extLst>
          </p:cNvPr>
          <p:cNvSpPr>
            <a:spLocks/>
          </p:cNvSpPr>
          <p:nvPr/>
        </p:nvSpPr>
        <p:spPr>
          <a:xfrm>
            <a:off x="6642196" y="3157012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>
            <a:solidFill>
              <a:srgbClr val="8A8A8D"/>
            </a:solidFill>
            <a:miter lim="800000"/>
            <a:headEnd/>
            <a:tailEnd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Adam Cohen</a:t>
            </a:r>
            <a:endParaRPr lang="en-US" sz="900" b="1" dirty="0">
              <a:solidFill>
                <a:schemeClr val="bg2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Manager, Procurement - Indirect Spend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6C633683-9928-4199-A540-4E00D61ED125}"/>
              </a:ext>
            </a:extLst>
          </p:cNvPr>
          <p:cNvSpPr>
            <a:spLocks/>
          </p:cNvSpPr>
          <p:nvPr/>
        </p:nvSpPr>
        <p:spPr>
          <a:xfrm>
            <a:off x="6642195" y="2629925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Astrud Ruiz-Flores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spc="-1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r. Manager, Procurement,  Indirect Spend</a:t>
            </a:r>
            <a:endParaRPr lang="en-US" sz="900" spc="-1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4ED639E9-2FCB-4601-AFFF-FD9F38DE95C1}"/>
              </a:ext>
            </a:extLst>
          </p:cNvPr>
          <p:cNvSpPr>
            <a:spLocks/>
          </p:cNvSpPr>
          <p:nvPr/>
        </p:nvSpPr>
        <p:spPr>
          <a:xfrm>
            <a:off x="6642195" y="2102838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>
            <a:solidFill>
              <a:srgbClr val="8A8A8D"/>
            </a:solidFill>
            <a:miter lim="800000"/>
            <a:headEnd/>
            <a:tailEnd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Eric Zagorski 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anager</a:t>
            </a: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, Procurement – </a:t>
            </a: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Facilities </a:t>
            </a: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pend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78D0F99-92E3-49EA-A9EE-50DAF1039495}"/>
              </a:ext>
            </a:extLst>
          </p:cNvPr>
          <p:cNvSpPr>
            <a:spLocks/>
          </p:cNvSpPr>
          <p:nvPr/>
        </p:nvSpPr>
        <p:spPr>
          <a:xfrm>
            <a:off x="6642195" y="3684099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OPEN </a:t>
            </a:r>
            <a:endParaRPr lang="en-US" sz="900" b="1" dirty="0" smtClean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anager, B.P.O. – Indirect (S.E.I.)</a:t>
            </a:r>
          </a:p>
        </p:txBody>
      </p:sp>
      <p:cxnSp>
        <p:nvCxnSpPr>
          <p:cNvPr id="117" name="Elbow Connector 116"/>
          <p:cNvCxnSpPr>
            <a:endCxn id="98" idx="1"/>
          </p:cNvCxnSpPr>
          <p:nvPr/>
        </p:nvCxnSpPr>
        <p:spPr>
          <a:xfrm rot="16200000" flipH="1">
            <a:off x="6448222" y="2136251"/>
            <a:ext cx="286054" cy="101891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Elbow Connector 117"/>
          <p:cNvCxnSpPr>
            <a:endCxn id="95" idx="1"/>
          </p:cNvCxnSpPr>
          <p:nvPr/>
        </p:nvCxnSpPr>
        <p:spPr>
          <a:xfrm rot="16200000" flipH="1">
            <a:off x="6175469" y="2390585"/>
            <a:ext cx="831560" cy="101891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Elbow Connector 118"/>
          <p:cNvCxnSpPr>
            <a:endCxn id="44" idx="1"/>
          </p:cNvCxnSpPr>
          <p:nvPr/>
        </p:nvCxnSpPr>
        <p:spPr>
          <a:xfrm rot="16200000" flipH="1">
            <a:off x="5656597" y="2925887"/>
            <a:ext cx="1869304" cy="101892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Elbow Connector 119"/>
          <p:cNvCxnSpPr>
            <a:endCxn id="64" idx="1"/>
          </p:cNvCxnSpPr>
          <p:nvPr/>
        </p:nvCxnSpPr>
        <p:spPr>
          <a:xfrm rot="16200000" flipH="1">
            <a:off x="6354199" y="3096401"/>
            <a:ext cx="527086" cy="48908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DE8A178-8F78-44B9-83E5-54D2F38F0F50}"/>
              </a:ext>
            </a:extLst>
          </p:cNvPr>
          <p:cNvSpPr>
            <a:spLocks/>
          </p:cNvSpPr>
          <p:nvPr/>
        </p:nvSpPr>
        <p:spPr>
          <a:xfrm>
            <a:off x="6644232" y="4215959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ichael Durik</a:t>
            </a:r>
            <a:endParaRPr lang="en-US" sz="9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r. Manager, </a:t>
            </a: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.M.O.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160" name="Elbow Connector 159"/>
          <p:cNvCxnSpPr/>
          <p:nvPr/>
        </p:nvCxnSpPr>
        <p:spPr>
          <a:xfrm rot="16200000" flipH="1">
            <a:off x="5462058" y="3261171"/>
            <a:ext cx="2260422" cy="103927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>
            <a:extLst>
              <a:ext uri="{FF2B5EF4-FFF2-40B4-BE49-F238E27FC236}">
                <a16:creationId xmlns:a16="http://schemas.microsoft.com/office/drawing/2014/main" id="{2B85E7FF-676E-44EB-B21D-25C6F6529A75}"/>
              </a:ext>
            </a:extLst>
          </p:cNvPr>
          <p:cNvSpPr>
            <a:spLocks/>
          </p:cNvSpPr>
          <p:nvPr/>
        </p:nvSpPr>
        <p:spPr>
          <a:xfrm>
            <a:off x="603285" y="2629925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>
            <a:solidFill>
              <a:srgbClr val="8A8A8D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27432" rIns="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Elena Del Angel</a:t>
            </a:r>
            <a:endParaRPr lang="en-US" sz="9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algn="ctr" defTabSz="913526">
              <a:buClr>
                <a:schemeClr val="bg1"/>
              </a:buClr>
            </a:pPr>
            <a:r>
              <a:rPr lang="en-US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r. </a:t>
            </a:r>
            <a:r>
              <a:rPr lang="en-US" sz="90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anager, Procurement – Sweeteners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A78D0F99-92E3-49EA-A9EE-50DAF1039495}"/>
              </a:ext>
            </a:extLst>
          </p:cNvPr>
          <p:cNvSpPr>
            <a:spLocks/>
          </p:cNvSpPr>
          <p:nvPr/>
        </p:nvSpPr>
        <p:spPr>
          <a:xfrm>
            <a:off x="603285" y="3157012"/>
            <a:ext cx="1440844" cy="45477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2700" cap="flat" cmpd="sng" algn="ctr">
            <a:solidFill>
              <a:srgbClr val="8A8A8D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27432" rIns="45720" bIns="27432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13526">
              <a:buClr>
                <a:schemeClr val="bg1"/>
              </a:buClr>
            </a:pPr>
            <a:r>
              <a:rPr lang="en-US" sz="900" b="1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Claire Goppert</a:t>
            </a:r>
          </a:p>
          <a:p>
            <a:pPr algn="ctr" defTabSz="913526">
              <a:buClr>
                <a:schemeClr val="bg1"/>
              </a:buClr>
            </a:pPr>
            <a:r>
              <a:rPr lang="en-US" sz="900" spc="-2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pecialist – Sweeteners (S.E.I.)</a:t>
            </a:r>
            <a:endParaRPr lang="en-US" sz="900" spc="-2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87" name="Elbow Connector 86"/>
          <p:cNvCxnSpPr>
            <a:endCxn id="88" idx="1"/>
          </p:cNvCxnSpPr>
          <p:nvPr/>
        </p:nvCxnSpPr>
        <p:spPr>
          <a:xfrm rot="16200000" flipH="1">
            <a:off x="2364429" y="3070395"/>
            <a:ext cx="527086" cy="77289"/>
          </a:xfrm>
          <a:prstGeom prst="bentConnector2">
            <a:avLst/>
          </a:prstGeom>
          <a:ln w="12700" cap="rnd">
            <a:solidFill>
              <a:srgbClr val="8A8A8D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7355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O_y4dzQqW46eLhgNAc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U5GGGBRbWHP_xGioYB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BxC7uJSXy__u8g73AX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O_y4dzQqW46eLhgNAc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ukVjuATDi.6olv_UNv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YK9RefSpaUWxfHsDWm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Office Theme">
  <a:themeElements>
    <a:clrScheme name="Ferrara Final">
      <a:dk1>
        <a:srgbClr val="5C5459"/>
      </a:dk1>
      <a:lt1>
        <a:srgbClr val="FFFFFF"/>
      </a:lt1>
      <a:dk2>
        <a:srgbClr val="F2F2F2"/>
      </a:dk2>
      <a:lt2>
        <a:srgbClr val="272425"/>
      </a:lt2>
      <a:accent1>
        <a:srgbClr val="C6093B"/>
      </a:accent1>
      <a:accent2>
        <a:srgbClr val="65B947"/>
      </a:accent2>
      <a:accent3>
        <a:srgbClr val="5A1F87"/>
      </a:accent3>
      <a:accent4>
        <a:srgbClr val="CC1F70"/>
      </a:accent4>
      <a:accent5>
        <a:srgbClr val="01ADEE"/>
      </a:accent5>
      <a:accent6>
        <a:srgbClr val="EB0089"/>
      </a:accent6>
      <a:hlink>
        <a:srgbClr val="5A1F87"/>
      </a:hlink>
      <a:folHlink>
        <a:srgbClr val="FFFFFF"/>
      </a:folHlink>
    </a:clrScheme>
    <a:fontScheme name="Custom 3">
      <a:majorFont>
        <a:latin typeface="Avenir Black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FCC_CF_FZY011">
  <a:themeElements>
    <a:clrScheme name="Current">
      <a:dk1>
        <a:srgbClr val="000000"/>
      </a:dk1>
      <a:lt1>
        <a:srgbClr val="FFFFFF"/>
      </a:lt1>
      <a:dk2>
        <a:srgbClr val="E2241F"/>
      </a:dk2>
      <a:lt2>
        <a:srgbClr val="969696"/>
      </a:lt2>
      <a:accent1>
        <a:srgbClr val="FAD7D6"/>
      </a:accent1>
      <a:accent2>
        <a:srgbClr val="EE817E"/>
      </a:accent2>
      <a:accent3>
        <a:srgbClr val="E2241F"/>
      </a:accent3>
      <a:accent4>
        <a:srgbClr val="911613"/>
      </a:accent4>
      <a:accent5>
        <a:srgbClr val="FFC000"/>
      </a:accent5>
      <a:accent6>
        <a:srgbClr val="808080"/>
      </a:accent6>
      <a:hlink>
        <a:srgbClr val="E2241F"/>
      </a:hlink>
      <a:folHlink>
        <a:srgbClr val="911613"/>
      </a:folHlink>
    </a:clrScheme>
    <a:fontScheme name="Custom 225">
      <a:majorFont>
        <a:latin typeface="Calibri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E2241F"/>
        </a:dk2>
        <a:lt2>
          <a:srgbClr val="969696"/>
        </a:lt2>
        <a:accent1>
          <a:srgbClr val="FAD7D6"/>
        </a:accent1>
        <a:accent2>
          <a:srgbClr val="EE817E"/>
        </a:accent2>
        <a:accent3>
          <a:srgbClr val="E2241F"/>
        </a:accent3>
        <a:accent4>
          <a:srgbClr val="911613"/>
        </a:accent4>
        <a:accent5>
          <a:srgbClr val="FFC000"/>
        </a:accent5>
        <a:accent6>
          <a:srgbClr val="808080"/>
        </a:accent6>
        <a:hlink>
          <a:srgbClr val="E2241F"/>
        </a:hlink>
        <a:folHlink>
          <a:srgbClr val="91161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tandard Ferrara Template.potx [Read-Only]" id="{00BB5127-41D7-427A-82FF-2B9B67075DD8}" vid="{0A06A65E-077E-4384-80D6-FEFE351D454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Application xmlns="http://www.sap.com/cof/powerpoint/application">
  <Version>2</Version>
  <Revision>2.4.3.69600</Revision>
</Application>
</file>

<file path=customXml/item2.xml><?xml version="1.0" encoding="utf-8"?>
<Application xmlns="http://www.sap.com/cof/ao/powerpoint/application">
  <com.sap.ip.bi.pioneer>
    <Version>4</Version>
    <AAO_Revision>2.4.3.69600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Props1.xml><?xml version="1.0" encoding="utf-8"?>
<ds:datastoreItem xmlns:ds="http://schemas.openxmlformats.org/officeDocument/2006/customXml" ds:itemID="{A267485E-DDD2-48BA-AB15-3FA8D25C9BFE}">
  <ds:schemaRefs>
    <ds:schemaRef ds:uri="http://www.sap.com/cof/powerpoint/application"/>
  </ds:schemaRefs>
</ds:datastoreItem>
</file>

<file path=customXml/itemProps2.xml><?xml version="1.0" encoding="utf-8"?>
<ds:datastoreItem xmlns:ds="http://schemas.openxmlformats.org/officeDocument/2006/customXml" ds:itemID="{73BCA759-F71B-44FC-AE6F-13A0EBC933DC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761</TotalTime>
  <Words>363</Words>
  <Application>Microsoft Office PowerPoint</Application>
  <PresentationFormat>Widescreen</PresentationFormat>
  <Paragraphs>8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ＭＳ Ｐゴシック</vt:lpstr>
      <vt:lpstr>Arial</vt:lpstr>
      <vt:lpstr>Arial Unicode MS</vt:lpstr>
      <vt:lpstr>Avenir</vt:lpstr>
      <vt:lpstr>Avenir Black</vt:lpstr>
      <vt:lpstr>Avenir Book</vt:lpstr>
      <vt:lpstr>Calibri</vt:lpstr>
      <vt:lpstr>Courier New</vt:lpstr>
      <vt:lpstr>Trebuchet MS</vt:lpstr>
      <vt:lpstr>Wingdings</vt:lpstr>
      <vt:lpstr>Office Theme</vt:lpstr>
      <vt:lpstr>2_FCC_CF_FZY011</vt:lpstr>
      <vt:lpstr>think-cell Slide</vt:lpstr>
      <vt:lpstr>Operations – Procurement Organization as of 1/22/2020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keeer Avulapalli</dc:creator>
  <cp:lastModifiedBy>Kassandra Bernardo</cp:lastModifiedBy>
  <cp:revision>278</cp:revision>
  <dcterms:created xsi:type="dcterms:W3CDTF">2019-04-26T11:00:32Z</dcterms:created>
  <dcterms:modified xsi:type="dcterms:W3CDTF">2020-01-22T19:52:02Z</dcterms:modified>
</cp:coreProperties>
</file>